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32" r:id="rId4"/>
    <p:sldMasterId id="2147483648" r:id="rId5"/>
    <p:sldMasterId id="2147483672" r:id="rId6"/>
  </p:sldMasterIdLst>
  <p:notesMasterIdLst>
    <p:notesMasterId r:id="rId38"/>
  </p:notesMasterIdLst>
  <p:sldIdLst>
    <p:sldId id="461" r:id="rId7"/>
    <p:sldId id="478" r:id="rId8"/>
    <p:sldId id="482" r:id="rId9"/>
    <p:sldId id="460" r:id="rId10"/>
    <p:sldId id="342" r:id="rId11"/>
    <p:sldId id="335" r:id="rId12"/>
    <p:sldId id="452" r:id="rId13"/>
    <p:sldId id="453" r:id="rId14"/>
    <p:sldId id="339" r:id="rId15"/>
    <p:sldId id="260" r:id="rId16"/>
    <p:sldId id="462" r:id="rId17"/>
    <p:sldId id="463" r:id="rId18"/>
    <p:sldId id="465" r:id="rId19"/>
    <p:sldId id="464" r:id="rId20"/>
    <p:sldId id="477" r:id="rId21"/>
    <p:sldId id="483" r:id="rId22"/>
    <p:sldId id="457" r:id="rId23"/>
    <p:sldId id="454" r:id="rId24"/>
    <p:sldId id="458" r:id="rId25"/>
    <p:sldId id="471" r:id="rId26"/>
    <p:sldId id="484" r:id="rId27"/>
    <p:sldId id="468" r:id="rId28"/>
    <p:sldId id="476" r:id="rId29"/>
    <p:sldId id="475" r:id="rId30"/>
    <p:sldId id="469" r:id="rId31"/>
    <p:sldId id="467" r:id="rId32"/>
    <p:sldId id="474" r:id="rId33"/>
    <p:sldId id="324" r:id="rId34"/>
    <p:sldId id="313" r:id="rId35"/>
    <p:sldId id="323" r:id="rId36"/>
    <p:sldId id="466" r:id="rId3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DBE"/>
    <a:srgbClr val="5CC3B3"/>
    <a:srgbClr val="002D44"/>
    <a:srgbClr val="73C5B8"/>
    <a:srgbClr val="FF5F4C"/>
    <a:srgbClr val="2980C1"/>
    <a:srgbClr val="002E45"/>
    <a:srgbClr val="A8E4FA"/>
    <a:srgbClr val="6A6A6A"/>
    <a:srgbClr val="1C3B3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BA54521-8D41-435C-AD27-5033055BF43D}" v="1579" dt="2023-06-08T10:13:59.106"/>
    <p1510:client id="{6D90F28D-DA06-F898-97D1-913FEE355B55}" v="1150" dt="2023-06-08T07:14:50.216"/>
    <p1510:client id="{AE129738-821C-1746-A850-A69A81840567}" v="2453" dt="2023-06-08T09:56:14.63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644" autoAdjust="0"/>
    <p:restoredTop sz="94660"/>
  </p:normalViewPr>
  <p:slideViewPr>
    <p:cSldViewPr snapToGrid="0">
      <p:cViewPr varScale="1">
        <p:scale>
          <a:sx n="96" d="100"/>
          <a:sy n="96" d="100"/>
        </p:scale>
        <p:origin x="100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presProps" Target="presProps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microsoft.com/office/2016/11/relationships/changesInfo" Target="changesInfos/changesInfo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notesMaster" Target="notesMasters/notes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@carbongap.org" userId="S::urn:spo:guest#eli@carbongap.org::" providerId="AD" clId="Web-{6D90F28D-DA06-F898-97D1-913FEE355B55}"/>
    <pc:docChg chg="addSld delSld modSld sldOrd addMainMaster modMainMaster">
      <pc:chgData name="eli@carbongap.org" userId="S::urn:spo:guest#eli@carbongap.org::" providerId="AD" clId="Web-{6D90F28D-DA06-F898-97D1-913FEE355B55}" dt="2023-06-08T07:14:50.216" v="959"/>
      <pc:docMkLst>
        <pc:docMk/>
      </pc:docMkLst>
      <pc:sldChg chg="addSp modSp del">
        <pc:chgData name="eli@carbongap.org" userId="S::urn:spo:guest#eli@carbongap.org::" providerId="AD" clId="Web-{6D90F28D-DA06-F898-97D1-913FEE355B55}" dt="2023-06-08T06:33:02.385" v="838"/>
        <pc:sldMkLst>
          <pc:docMk/>
          <pc:sldMk cId="1522455402" sldId="310"/>
        </pc:sldMkLst>
        <pc:spChg chg="mod">
          <ac:chgData name="eli@carbongap.org" userId="S::urn:spo:guest#eli@carbongap.org::" providerId="AD" clId="Web-{6D90F28D-DA06-F898-97D1-913FEE355B55}" dt="2023-06-08T05:04:24.254" v="5" actId="1076"/>
          <ac:spMkLst>
            <pc:docMk/>
            <pc:sldMk cId="1522455402" sldId="310"/>
            <ac:spMk id="13" creationId="{23AA66A7-E8D4-4D19-A21F-FE44C8C8ADFC}"/>
          </ac:spMkLst>
        </pc:spChg>
        <pc:picChg chg="add mod">
          <ac:chgData name="eli@carbongap.org" userId="S::urn:spo:guest#eli@carbongap.org::" providerId="AD" clId="Web-{6D90F28D-DA06-F898-97D1-913FEE355B55}" dt="2023-06-08T05:04:17.395" v="3" actId="14100"/>
          <ac:picMkLst>
            <pc:docMk/>
            <pc:sldMk cId="1522455402" sldId="310"/>
            <ac:picMk id="3" creationId="{01564200-FB23-730C-F678-FE54F6A0F648}"/>
          </ac:picMkLst>
        </pc:picChg>
      </pc:sldChg>
      <pc:sldChg chg="ord">
        <pc:chgData name="eli@carbongap.org" userId="S::urn:spo:guest#eli@carbongap.org::" providerId="AD" clId="Web-{6D90F28D-DA06-F898-97D1-913FEE355B55}" dt="2023-06-08T06:10:08.573" v="809"/>
        <pc:sldMkLst>
          <pc:docMk/>
          <pc:sldMk cId="779533866" sldId="313"/>
        </pc:sldMkLst>
      </pc:sldChg>
      <pc:sldChg chg="modSp">
        <pc:chgData name="eli@carbongap.org" userId="S::urn:spo:guest#eli@carbongap.org::" providerId="AD" clId="Web-{6D90F28D-DA06-F898-97D1-913FEE355B55}" dt="2023-06-08T07:14:49.794" v="958" actId="1076"/>
        <pc:sldMkLst>
          <pc:docMk/>
          <pc:sldMk cId="2483532130" sldId="323"/>
        </pc:sldMkLst>
        <pc:graphicFrameChg chg="mod modGraphic">
          <ac:chgData name="eli@carbongap.org" userId="S::urn:spo:guest#eli@carbongap.org::" providerId="AD" clId="Web-{6D90F28D-DA06-F898-97D1-913FEE355B55}" dt="2023-06-08T07:14:49.794" v="958" actId="1076"/>
          <ac:graphicFrameMkLst>
            <pc:docMk/>
            <pc:sldMk cId="2483532130" sldId="323"/>
            <ac:graphicFrameMk id="5" creationId="{D590FF5B-78DF-27C9-EBE3-8A753662DCE1}"/>
          </ac:graphicFrameMkLst>
        </pc:graphicFrameChg>
      </pc:sldChg>
      <pc:sldChg chg="modSp">
        <pc:chgData name="eli@carbongap.org" userId="S::urn:spo:guest#eli@carbongap.org::" providerId="AD" clId="Web-{6D90F28D-DA06-F898-97D1-913FEE355B55}" dt="2023-06-08T06:48:37.548" v="910" actId="1076"/>
        <pc:sldMkLst>
          <pc:docMk/>
          <pc:sldMk cId="2524833632" sldId="339"/>
        </pc:sldMkLst>
        <pc:spChg chg="mod">
          <ac:chgData name="eli@carbongap.org" userId="S::urn:spo:guest#eli@carbongap.org::" providerId="AD" clId="Web-{6D90F28D-DA06-F898-97D1-913FEE355B55}" dt="2023-06-08T06:48:37.548" v="910" actId="1076"/>
          <ac:spMkLst>
            <pc:docMk/>
            <pc:sldMk cId="2524833632" sldId="339"/>
            <ac:spMk id="34" creationId="{6D56DEF6-F1D2-851E-7E26-EB555CDD119F}"/>
          </ac:spMkLst>
        </pc:spChg>
      </pc:sldChg>
      <pc:sldChg chg="addSp modSp addAnim">
        <pc:chgData name="eli@carbongap.org" userId="S::urn:spo:guest#eli@carbongap.org::" providerId="AD" clId="Web-{6D90F28D-DA06-F898-97D1-913FEE355B55}" dt="2023-06-08T07:01:59.366" v="956" actId="20577"/>
        <pc:sldMkLst>
          <pc:docMk/>
          <pc:sldMk cId="4090100377" sldId="454"/>
        </pc:sldMkLst>
        <pc:spChg chg="mod">
          <ac:chgData name="eli@carbongap.org" userId="S::urn:spo:guest#eli@carbongap.org::" providerId="AD" clId="Web-{6D90F28D-DA06-F898-97D1-913FEE355B55}" dt="2023-06-08T06:58:41.365" v="932" actId="20577"/>
          <ac:spMkLst>
            <pc:docMk/>
            <pc:sldMk cId="4090100377" sldId="454"/>
            <ac:spMk id="4" creationId="{72EE47D4-9C26-43C4-9AF0-97E9AB161BFA}"/>
          </ac:spMkLst>
        </pc:spChg>
        <pc:spChg chg="add mod">
          <ac:chgData name="eli@carbongap.org" userId="S::urn:spo:guest#eli@carbongap.org::" providerId="AD" clId="Web-{6D90F28D-DA06-F898-97D1-913FEE355B55}" dt="2023-06-08T07:01:59.366" v="956" actId="20577"/>
          <ac:spMkLst>
            <pc:docMk/>
            <pc:sldMk cId="4090100377" sldId="454"/>
            <ac:spMk id="5" creationId="{3F5212BA-DC53-3461-0536-0EB80FA8FFBD}"/>
          </ac:spMkLst>
        </pc:spChg>
      </pc:sldChg>
      <pc:sldChg chg="delSp">
        <pc:chgData name="eli@carbongap.org" userId="S::urn:spo:guest#eli@carbongap.org::" providerId="AD" clId="Web-{6D90F28D-DA06-F898-97D1-913FEE355B55}" dt="2023-06-08T06:33:09.947" v="839"/>
        <pc:sldMkLst>
          <pc:docMk/>
          <pc:sldMk cId="1248552194" sldId="455"/>
        </pc:sldMkLst>
        <pc:picChg chg="del">
          <ac:chgData name="eli@carbongap.org" userId="S::urn:spo:guest#eli@carbongap.org::" providerId="AD" clId="Web-{6D90F28D-DA06-F898-97D1-913FEE355B55}" dt="2023-06-08T06:33:09.947" v="839"/>
          <ac:picMkLst>
            <pc:docMk/>
            <pc:sldMk cId="1248552194" sldId="455"/>
            <ac:picMk id="2" creationId="{00000000-0000-0000-0000-000000000000}"/>
          </ac:picMkLst>
        </pc:picChg>
      </pc:sldChg>
      <pc:sldChg chg="addSp delSp modSp add ord">
        <pc:chgData name="eli@carbongap.org" userId="S::urn:spo:guest#eli@carbongap.org::" providerId="AD" clId="Web-{6D90F28D-DA06-F898-97D1-913FEE355B55}" dt="2023-06-08T05:45:54.167" v="760" actId="1076"/>
        <pc:sldMkLst>
          <pc:docMk/>
          <pc:sldMk cId="2420771935" sldId="460"/>
        </pc:sldMkLst>
        <pc:spChg chg="mod">
          <ac:chgData name="eli@carbongap.org" userId="S::urn:spo:guest#eli@carbongap.org::" providerId="AD" clId="Web-{6D90F28D-DA06-F898-97D1-913FEE355B55}" dt="2023-06-08T05:45:54.167" v="760" actId="1076"/>
          <ac:spMkLst>
            <pc:docMk/>
            <pc:sldMk cId="2420771935" sldId="460"/>
            <ac:spMk id="113" creationId="{B9E1C172-96E8-337D-ECD6-E4BA2BD9D181}"/>
          </ac:spMkLst>
        </pc:spChg>
        <pc:spChg chg="add del">
          <ac:chgData name="eli@carbongap.org" userId="S::urn:spo:guest#eli@carbongap.org::" providerId="AD" clId="Web-{6D90F28D-DA06-F898-97D1-913FEE355B55}" dt="2023-06-08T05:45:50.995" v="759"/>
          <ac:spMkLst>
            <pc:docMk/>
            <pc:sldMk cId="2420771935" sldId="460"/>
            <ac:spMk id="114" creationId="{94A8916A-7BA5-93A4-4728-02194A50DAE4}"/>
          </ac:spMkLst>
        </pc:spChg>
        <pc:picChg chg="add del mod">
          <ac:chgData name="eli@carbongap.org" userId="S::urn:spo:guest#eli@carbongap.org::" providerId="AD" clId="Web-{6D90F28D-DA06-F898-97D1-913FEE355B55}" dt="2023-06-08T05:11:37.511" v="114"/>
          <ac:picMkLst>
            <pc:docMk/>
            <pc:sldMk cId="2420771935" sldId="460"/>
            <ac:picMk id="2" creationId="{BBD91FA8-085D-3A75-F3A4-7B88CE7EBA27}"/>
          </ac:picMkLst>
        </pc:picChg>
      </pc:sldChg>
      <pc:sldChg chg="addSp modSp add ord">
        <pc:chgData name="eli@carbongap.org" userId="S::urn:spo:guest#eli@carbongap.org::" providerId="AD" clId="Web-{6D90F28D-DA06-F898-97D1-913FEE355B55}" dt="2023-06-08T06:43:55.093" v="909" actId="20577"/>
        <pc:sldMkLst>
          <pc:docMk/>
          <pc:sldMk cId="253103803" sldId="461"/>
        </pc:sldMkLst>
        <pc:spChg chg="mod">
          <ac:chgData name="eli@carbongap.org" userId="S::urn:spo:guest#eli@carbongap.org::" providerId="AD" clId="Web-{6D90F28D-DA06-F898-97D1-913FEE355B55}" dt="2023-06-08T05:06:53.759" v="35"/>
          <ac:spMkLst>
            <pc:docMk/>
            <pc:sldMk cId="253103803" sldId="461"/>
            <ac:spMk id="19" creationId="{ED77E2C4-4C68-FCA7-B863-F9A541406DD2}"/>
          </ac:spMkLst>
        </pc:spChg>
        <pc:spChg chg="mod">
          <ac:chgData name="eli@carbongap.org" userId="S::urn:spo:guest#eli@carbongap.org::" providerId="AD" clId="Web-{6D90F28D-DA06-F898-97D1-913FEE355B55}" dt="2023-06-08T05:06:16.836" v="16" actId="20577"/>
          <ac:spMkLst>
            <pc:docMk/>
            <pc:sldMk cId="253103803" sldId="461"/>
            <ac:spMk id="31" creationId="{EFA89570-F149-02C5-7958-7BE1004E8617}"/>
          </ac:spMkLst>
        </pc:spChg>
        <pc:spChg chg="mod">
          <ac:chgData name="eli@carbongap.org" userId="S::urn:spo:guest#eli@carbongap.org::" providerId="AD" clId="Web-{6D90F28D-DA06-F898-97D1-913FEE355B55}" dt="2023-06-08T06:43:55.093" v="909" actId="20577"/>
          <ac:spMkLst>
            <pc:docMk/>
            <pc:sldMk cId="253103803" sldId="461"/>
            <ac:spMk id="32" creationId="{309E155E-9C64-A6E7-5436-64BC7B1A7FE1}"/>
          </ac:spMkLst>
        </pc:spChg>
        <pc:spChg chg="mod">
          <ac:chgData name="eli@carbongap.org" userId="S::urn:spo:guest#eli@carbongap.org::" providerId="AD" clId="Web-{6D90F28D-DA06-F898-97D1-913FEE355B55}" dt="2023-06-08T05:07:50.744" v="102" actId="20577"/>
          <ac:spMkLst>
            <pc:docMk/>
            <pc:sldMk cId="253103803" sldId="461"/>
            <ac:spMk id="33" creationId="{AAB2FD8B-88D2-C545-0EDB-779B5AED7E22}"/>
          </ac:spMkLst>
        </pc:spChg>
        <pc:picChg chg="add mod">
          <ac:chgData name="eli@carbongap.org" userId="S::urn:spo:guest#eli@carbongap.org::" providerId="AD" clId="Web-{6D90F28D-DA06-F898-97D1-913FEE355B55}" dt="2023-06-08T05:36:34.886" v="508" actId="1076"/>
          <ac:picMkLst>
            <pc:docMk/>
            <pc:sldMk cId="253103803" sldId="461"/>
            <ac:picMk id="3" creationId="{3C506B84-BC27-FFA0-46BD-353127B28D8F}"/>
          </ac:picMkLst>
        </pc:picChg>
        <pc:picChg chg="mod">
          <ac:chgData name="eli@carbongap.org" userId="S::urn:spo:guest#eli@carbongap.org::" providerId="AD" clId="Web-{6D90F28D-DA06-F898-97D1-913FEE355B55}" dt="2023-06-08T05:06:42.415" v="34" actId="1076"/>
          <ac:picMkLst>
            <pc:docMk/>
            <pc:sldMk cId="253103803" sldId="461"/>
            <ac:picMk id="5" creationId="{5015C83D-BCAA-0861-A411-BF2DA7BB2A3A}"/>
          </ac:picMkLst>
        </pc:picChg>
        <pc:picChg chg="mod modCrop">
          <ac:chgData name="eli@carbongap.org" userId="S::urn:spo:guest#eli@carbongap.org::" providerId="AD" clId="Web-{6D90F28D-DA06-F898-97D1-913FEE355B55}" dt="2023-06-08T05:36:42.574" v="510" actId="1076"/>
          <ac:picMkLst>
            <pc:docMk/>
            <pc:sldMk cId="253103803" sldId="461"/>
            <ac:picMk id="27" creationId="{19B286E8-47EE-65DC-369A-7DDD6D603FC8}"/>
          </ac:picMkLst>
        </pc:picChg>
      </pc:sldChg>
      <pc:sldChg chg="add del ord">
        <pc:chgData name="eli@carbongap.org" userId="S::urn:spo:guest#eli@carbongap.org::" providerId="AD" clId="Web-{6D90F28D-DA06-F898-97D1-913FEE355B55}" dt="2023-06-08T05:05:51.149" v="9"/>
        <pc:sldMkLst>
          <pc:docMk/>
          <pc:sldMk cId="1924754832" sldId="461"/>
        </pc:sldMkLst>
      </pc:sldChg>
      <pc:sldChg chg="delSp modSp add ord">
        <pc:chgData name="eli@carbongap.org" userId="S::urn:spo:guest#eli@carbongap.org::" providerId="AD" clId="Web-{6D90F28D-DA06-F898-97D1-913FEE355B55}" dt="2023-06-08T05:46:12.433" v="763"/>
        <pc:sldMkLst>
          <pc:docMk/>
          <pc:sldMk cId="3353405586" sldId="462"/>
        </pc:sldMkLst>
        <pc:spChg chg="del">
          <ac:chgData name="eli@carbongap.org" userId="S::urn:spo:guest#eli@carbongap.org::" providerId="AD" clId="Web-{6D90F28D-DA06-F898-97D1-913FEE355B55}" dt="2023-06-08T05:46:12.433" v="763"/>
          <ac:spMkLst>
            <pc:docMk/>
            <pc:sldMk cId="3353405586" sldId="462"/>
            <ac:spMk id="52" creationId="{0270DB3C-794F-C751-9E9F-1EB1CBADDAC3}"/>
          </ac:spMkLst>
        </pc:spChg>
        <pc:spChg chg="del mod">
          <ac:chgData name="eli@carbongap.org" userId="S::urn:spo:guest#eli@carbongap.org::" providerId="AD" clId="Web-{6D90F28D-DA06-F898-97D1-913FEE355B55}" dt="2023-06-08T05:46:05.792" v="762"/>
          <ac:spMkLst>
            <pc:docMk/>
            <pc:sldMk cId="3353405586" sldId="462"/>
            <ac:spMk id="113" creationId="{B9E1C172-96E8-337D-ECD6-E4BA2BD9D181}"/>
          </ac:spMkLst>
        </pc:spChg>
      </pc:sldChg>
      <pc:sldChg chg="add del ord">
        <pc:chgData name="eli@carbongap.org" userId="S::urn:spo:guest#eli@carbongap.org::" providerId="AD" clId="Web-{6D90F28D-DA06-F898-97D1-913FEE355B55}" dt="2023-06-08T05:10:08.714" v="108"/>
        <pc:sldMkLst>
          <pc:docMk/>
          <pc:sldMk cId="461318281" sldId="463"/>
        </pc:sldMkLst>
      </pc:sldChg>
      <pc:sldChg chg="addSp delSp modSp new">
        <pc:chgData name="eli@carbongap.org" userId="S::urn:spo:guest#eli@carbongap.org::" providerId="AD" clId="Web-{6D90F28D-DA06-F898-97D1-913FEE355B55}" dt="2023-06-08T06:35:04.292" v="840" actId="14100"/>
        <pc:sldMkLst>
          <pc:docMk/>
          <pc:sldMk cId="3093364598" sldId="463"/>
        </pc:sldMkLst>
        <pc:spChg chg="del">
          <ac:chgData name="eli@carbongap.org" userId="S::urn:spo:guest#eli@carbongap.org::" providerId="AD" clId="Web-{6D90F28D-DA06-F898-97D1-913FEE355B55}" dt="2023-06-08T05:12:58.825" v="123"/>
          <ac:spMkLst>
            <pc:docMk/>
            <pc:sldMk cId="3093364598" sldId="463"/>
            <ac:spMk id="2" creationId="{8E5FE772-CAA9-8834-6C79-F2A5DD2D18C2}"/>
          </ac:spMkLst>
        </pc:spChg>
        <pc:spChg chg="del">
          <ac:chgData name="eli@carbongap.org" userId="S::urn:spo:guest#eli@carbongap.org::" providerId="AD" clId="Web-{6D90F28D-DA06-F898-97D1-913FEE355B55}" dt="2023-06-08T05:12:06.074" v="116"/>
          <ac:spMkLst>
            <pc:docMk/>
            <pc:sldMk cId="3093364598" sldId="463"/>
            <ac:spMk id="3" creationId="{B589950C-6EE1-7CD6-4DBB-E842695560D9}"/>
          </ac:spMkLst>
        </pc:spChg>
        <pc:spChg chg="add del mod">
          <ac:chgData name="eli@carbongap.org" userId="S::urn:spo:guest#eli@carbongap.org::" providerId="AD" clId="Web-{6D90F28D-DA06-F898-97D1-913FEE355B55}" dt="2023-06-08T05:12:48.215" v="120"/>
          <ac:spMkLst>
            <pc:docMk/>
            <pc:sldMk cId="3093364598" sldId="463"/>
            <ac:spMk id="6" creationId="{1709727B-C4FF-F32C-661D-3515BD1BCD96}"/>
          </ac:spMkLst>
        </pc:spChg>
        <pc:spChg chg="add mod">
          <ac:chgData name="eli@carbongap.org" userId="S::urn:spo:guest#eli@carbongap.org::" providerId="AD" clId="Web-{6D90F28D-DA06-F898-97D1-913FEE355B55}" dt="2023-06-08T05:16:45.468" v="208" actId="1076"/>
          <ac:spMkLst>
            <pc:docMk/>
            <pc:sldMk cId="3093364598" sldId="463"/>
            <ac:spMk id="9" creationId="{D0056B04-3E66-3C4F-D271-911F9975D0C9}"/>
          </ac:spMkLst>
        </pc:spChg>
        <pc:picChg chg="add del mod ord modCrop">
          <ac:chgData name="eli@carbongap.org" userId="S::urn:spo:guest#eli@carbongap.org::" providerId="AD" clId="Web-{6D90F28D-DA06-F898-97D1-913FEE355B55}" dt="2023-06-08T05:12:45.247" v="119"/>
          <ac:picMkLst>
            <pc:docMk/>
            <pc:sldMk cId="3093364598" sldId="463"/>
            <ac:picMk id="4" creationId="{C2BB30F4-40F3-3FDD-2763-2AA6F8D90761}"/>
          </ac:picMkLst>
        </pc:picChg>
        <pc:picChg chg="add mod ord">
          <ac:chgData name="eli@carbongap.org" userId="S::urn:spo:guest#eli@carbongap.org::" providerId="AD" clId="Web-{6D90F28D-DA06-F898-97D1-913FEE355B55}" dt="2023-06-08T05:14:34.920" v="188" actId="1076"/>
          <ac:picMkLst>
            <pc:docMk/>
            <pc:sldMk cId="3093364598" sldId="463"/>
            <ac:picMk id="7" creationId="{D39EE0E3-8469-5DBF-BBF2-7F93BDD0A3AB}"/>
          </ac:picMkLst>
        </pc:picChg>
        <pc:picChg chg="add mod">
          <ac:chgData name="eli@carbongap.org" userId="S::urn:spo:guest#eli@carbongap.org::" providerId="AD" clId="Web-{6D90F28D-DA06-F898-97D1-913FEE355B55}" dt="2023-06-08T05:14:34.935" v="189" actId="1076"/>
          <ac:picMkLst>
            <pc:docMk/>
            <pc:sldMk cId="3093364598" sldId="463"/>
            <ac:picMk id="10" creationId="{4295E2F4-1A26-3A3C-99B8-F48838650C3D}"/>
          </ac:picMkLst>
        </pc:picChg>
        <pc:picChg chg="add mod ord">
          <ac:chgData name="eli@carbongap.org" userId="S::urn:spo:guest#eli@carbongap.org::" providerId="AD" clId="Web-{6D90F28D-DA06-F898-97D1-913FEE355B55}" dt="2023-06-08T05:14:34.951" v="190" actId="1076"/>
          <ac:picMkLst>
            <pc:docMk/>
            <pc:sldMk cId="3093364598" sldId="463"/>
            <ac:picMk id="11" creationId="{9BD3EEFE-5382-0A4C-0275-A833FEFE81F0}"/>
          </ac:picMkLst>
        </pc:picChg>
        <pc:picChg chg="add mod">
          <ac:chgData name="eli@carbongap.org" userId="S::urn:spo:guest#eli@carbongap.org::" providerId="AD" clId="Web-{6D90F28D-DA06-F898-97D1-913FEE355B55}" dt="2023-06-08T06:35:04.292" v="840" actId="14100"/>
          <ac:picMkLst>
            <pc:docMk/>
            <pc:sldMk cId="3093364598" sldId="463"/>
            <ac:picMk id="12" creationId="{9A2E19F3-3DD5-3809-FD53-297AF32920A5}"/>
          </ac:picMkLst>
        </pc:picChg>
      </pc:sldChg>
      <pc:sldChg chg="addSp delSp modSp new">
        <pc:chgData name="eli@carbongap.org" userId="S::urn:spo:guest#eli@carbongap.org::" providerId="AD" clId="Web-{6D90F28D-DA06-F898-97D1-913FEE355B55}" dt="2023-06-08T06:09:02.479" v="804" actId="20577"/>
        <pc:sldMkLst>
          <pc:docMk/>
          <pc:sldMk cId="2628176628" sldId="464"/>
        </pc:sldMkLst>
        <pc:spChg chg="del mod">
          <ac:chgData name="eli@carbongap.org" userId="S::urn:spo:guest#eli@carbongap.org::" providerId="AD" clId="Web-{6D90F28D-DA06-F898-97D1-913FEE355B55}" dt="2023-06-08T05:19:16.204" v="238"/>
          <ac:spMkLst>
            <pc:docMk/>
            <pc:sldMk cId="2628176628" sldId="464"/>
            <ac:spMk id="2" creationId="{510611A5-F310-A838-7A5A-3860C445203C}"/>
          </ac:spMkLst>
        </pc:spChg>
        <pc:spChg chg="del">
          <ac:chgData name="eli@carbongap.org" userId="S::urn:spo:guest#eli@carbongap.org::" providerId="AD" clId="Web-{6D90F28D-DA06-F898-97D1-913FEE355B55}" dt="2023-06-08T05:15:58.170" v="198"/>
          <ac:spMkLst>
            <pc:docMk/>
            <pc:sldMk cId="2628176628" sldId="464"/>
            <ac:spMk id="3" creationId="{17EDC9F7-BC5B-DE35-66EB-5A56DE0DEA62}"/>
          </ac:spMkLst>
        </pc:spChg>
        <pc:spChg chg="add del mod">
          <ac:chgData name="eli@carbongap.org" userId="S::urn:spo:guest#eli@carbongap.org::" providerId="AD" clId="Web-{6D90F28D-DA06-F898-97D1-913FEE355B55}" dt="2023-06-08T05:19:21.626" v="240"/>
          <ac:spMkLst>
            <pc:docMk/>
            <pc:sldMk cId="2628176628" sldId="464"/>
            <ac:spMk id="6" creationId="{30D46A37-0D1F-5C69-ED50-2D17E01BA316}"/>
          </ac:spMkLst>
        </pc:spChg>
        <pc:spChg chg="add mod">
          <ac:chgData name="eli@carbongap.org" userId="S::urn:spo:guest#eli@carbongap.org::" providerId="AD" clId="Web-{6D90F28D-DA06-F898-97D1-913FEE355B55}" dt="2023-06-08T05:34:03.494" v="493" actId="20577"/>
          <ac:spMkLst>
            <pc:docMk/>
            <pc:sldMk cId="2628176628" sldId="464"/>
            <ac:spMk id="8" creationId="{7432E576-4FFC-5B67-4B76-577E429972B3}"/>
          </ac:spMkLst>
        </pc:spChg>
        <pc:spChg chg="add mod">
          <ac:chgData name="eli@carbongap.org" userId="S::urn:spo:guest#eli@carbongap.org::" providerId="AD" clId="Web-{6D90F28D-DA06-F898-97D1-913FEE355B55}" dt="2023-06-08T06:09:02.479" v="804" actId="20577"/>
          <ac:spMkLst>
            <pc:docMk/>
            <pc:sldMk cId="2628176628" sldId="464"/>
            <ac:spMk id="12" creationId="{7D8C2674-BA39-70CF-03AC-A27BDA0C5CF0}"/>
          </ac:spMkLst>
        </pc:spChg>
        <pc:picChg chg="add mod ord modCrop">
          <ac:chgData name="eli@carbongap.org" userId="S::urn:spo:guest#eli@carbongap.org::" providerId="AD" clId="Web-{6D90F28D-DA06-F898-97D1-913FEE355B55}" dt="2023-06-08T05:33:55.713" v="487" actId="14100"/>
          <ac:picMkLst>
            <pc:docMk/>
            <pc:sldMk cId="2628176628" sldId="464"/>
            <ac:picMk id="4" creationId="{12F5C117-0B6B-E566-4A8D-CBFFDD1F127B}"/>
          </ac:picMkLst>
        </pc:picChg>
        <pc:picChg chg="add del mod">
          <ac:chgData name="eli@carbongap.org" userId="S::urn:spo:guest#eli@carbongap.org::" providerId="AD" clId="Web-{6D90F28D-DA06-F898-97D1-913FEE355B55}" dt="2023-06-08T05:31:33.571" v="377"/>
          <ac:picMkLst>
            <pc:docMk/>
            <pc:sldMk cId="2628176628" sldId="464"/>
            <ac:picMk id="9" creationId="{7B6B13AD-FA21-5E30-2DBC-3815DEA01CDF}"/>
          </ac:picMkLst>
        </pc:picChg>
        <pc:picChg chg="add del mod">
          <ac:chgData name="eli@carbongap.org" userId="S::urn:spo:guest#eli@carbongap.org::" providerId="AD" clId="Web-{6D90F28D-DA06-F898-97D1-913FEE355B55}" dt="2023-06-08T05:31:55.602" v="383"/>
          <ac:picMkLst>
            <pc:docMk/>
            <pc:sldMk cId="2628176628" sldId="464"/>
            <ac:picMk id="10" creationId="{89D4C8BF-2753-42EE-B5F0-38F09F4A55B8}"/>
          </ac:picMkLst>
        </pc:picChg>
      </pc:sldChg>
      <pc:sldChg chg="addSp delSp modSp add replId">
        <pc:chgData name="eli@carbongap.org" userId="S::urn:spo:guest#eli@carbongap.org::" providerId="AD" clId="Web-{6D90F28D-DA06-F898-97D1-913FEE355B55}" dt="2023-06-08T05:44:04.244" v="723" actId="14100"/>
        <pc:sldMkLst>
          <pc:docMk/>
          <pc:sldMk cId="2364397673" sldId="465"/>
        </pc:sldMkLst>
        <pc:spChg chg="add mod">
          <ac:chgData name="eli@carbongap.org" userId="S::urn:spo:guest#eli@carbongap.org::" providerId="AD" clId="Web-{6D90F28D-DA06-F898-97D1-913FEE355B55}" dt="2023-06-08T05:44:04.244" v="723" actId="14100"/>
          <ac:spMkLst>
            <pc:docMk/>
            <pc:sldMk cId="2364397673" sldId="465"/>
            <ac:spMk id="2" creationId="{B2638E05-0A67-2998-AEBB-1E0489E53EB1}"/>
          </ac:spMkLst>
        </pc:spChg>
        <pc:spChg chg="add del mod">
          <ac:chgData name="eli@carbongap.org" userId="S::urn:spo:guest#eli@carbongap.org::" providerId="AD" clId="Web-{6D90F28D-DA06-F898-97D1-913FEE355B55}" dt="2023-06-08T05:16:07.327" v="205"/>
          <ac:spMkLst>
            <pc:docMk/>
            <pc:sldMk cId="2364397673" sldId="465"/>
            <ac:spMk id="3" creationId="{F5A9E323-5161-2CF0-3180-82EF80E3B4F6}"/>
          </ac:spMkLst>
        </pc:spChg>
        <pc:spChg chg="mod">
          <ac:chgData name="eli@carbongap.org" userId="S::urn:spo:guest#eli@carbongap.org::" providerId="AD" clId="Web-{6D90F28D-DA06-F898-97D1-913FEE355B55}" dt="2023-06-08T05:17:45.953" v="233" actId="20577"/>
          <ac:spMkLst>
            <pc:docMk/>
            <pc:sldMk cId="2364397673" sldId="465"/>
            <ac:spMk id="9" creationId="{D0056B04-3E66-3C4F-D271-911F9975D0C9}"/>
          </ac:spMkLst>
        </pc:spChg>
        <pc:picChg chg="add mod">
          <ac:chgData name="eli@carbongap.org" userId="S::urn:spo:guest#eli@carbongap.org::" providerId="AD" clId="Web-{6D90F28D-DA06-F898-97D1-913FEE355B55}" dt="2023-06-08T05:19:01.625" v="236" actId="14100"/>
          <ac:picMkLst>
            <pc:docMk/>
            <pc:sldMk cId="2364397673" sldId="465"/>
            <ac:picMk id="4" creationId="{1DA4DA94-C67A-7D5F-43D7-B588908466E3}"/>
          </ac:picMkLst>
        </pc:picChg>
        <pc:picChg chg="del">
          <ac:chgData name="eli@carbongap.org" userId="S::urn:spo:guest#eli@carbongap.org::" providerId="AD" clId="Web-{6D90F28D-DA06-F898-97D1-913FEE355B55}" dt="2023-06-08T05:16:05.420" v="203"/>
          <ac:picMkLst>
            <pc:docMk/>
            <pc:sldMk cId="2364397673" sldId="465"/>
            <ac:picMk id="7" creationId="{D39EE0E3-8469-5DBF-BBF2-7F93BDD0A3AB}"/>
          </ac:picMkLst>
        </pc:picChg>
        <pc:picChg chg="del">
          <ac:chgData name="eli@carbongap.org" userId="S::urn:spo:guest#eli@carbongap.org::" providerId="AD" clId="Web-{6D90F28D-DA06-F898-97D1-913FEE355B55}" dt="2023-06-08T05:16:05.342" v="202"/>
          <ac:picMkLst>
            <pc:docMk/>
            <pc:sldMk cId="2364397673" sldId="465"/>
            <ac:picMk id="10" creationId="{4295E2F4-1A26-3A3C-99B8-F48838650C3D}"/>
          </ac:picMkLst>
        </pc:picChg>
        <pc:picChg chg="del">
          <ac:chgData name="eli@carbongap.org" userId="S::urn:spo:guest#eli@carbongap.org::" providerId="AD" clId="Web-{6D90F28D-DA06-F898-97D1-913FEE355B55}" dt="2023-06-08T05:16:05.420" v="204"/>
          <ac:picMkLst>
            <pc:docMk/>
            <pc:sldMk cId="2364397673" sldId="465"/>
            <ac:picMk id="11" creationId="{9BD3EEFE-5382-0A4C-0275-A833FEFE81F0}"/>
          </ac:picMkLst>
        </pc:picChg>
        <pc:picChg chg="del">
          <ac:chgData name="eli@carbongap.org" userId="S::urn:spo:guest#eli@carbongap.org::" providerId="AD" clId="Web-{6D90F28D-DA06-F898-97D1-913FEE355B55}" dt="2023-06-08T05:16:05.342" v="201"/>
          <ac:picMkLst>
            <pc:docMk/>
            <pc:sldMk cId="2364397673" sldId="465"/>
            <ac:picMk id="12" creationId="{9A2E19F3-3DD5-3809-FD53-297AF32920A5}"/>
          </ac:picMkLst>
        </pc:picChg>
      </pc:sldChg>
      <pc:sldChg chg="addSp delSp modSp add ord">
        <pc:chgData name="eli@carbongap.org" userId="S::urn:spo:guest#eli@carbongap.org::" providerId="AD" clId="Web-{6D90F28D-DA06-F898-97D1-913FEE355B55}" dt="2023-06-08T05:22:18.690" v="314" actId="1076"/>
        <pc:sldMkLst>
          <pc:docMk/>
          <pc:sldMk cId="1668940252" sldId="466"/>
        </pc:sldMkLst>
        <pc:spChg chg="add mod">
          <ac:chgData name="eli@carbongap.org" userId="S::urn:spo:guest#eli@carbongap.org::" providerId="AD" clId="Web-{6D90F28D-DA06-F898-97D1-913FEE355B55}" dt="2023-06-08T05:22:15.080" v="313" actId="1076"/>
          <ac:spMkLst>
            <pc:docMk/>
            <pc:sldMk cId="1668940252" sldId="466"/>
            <ac:spMk id="5" creationId="{ECEA62C8-9DBC-0137-B229-739CCD384B16}"/>
          </ac:spMkLst>
        </pc:spChg>
        <pc:spChg chg="add mod">
          <ac:chgData name="eli@carbongap.org" userId="S::urn:spo:guest#eli@carbongap.org::" providerId="AD" clId="Web-{6D90F28D-DA06-F898-97D1-913FEE355B55}" dt="2023-06-08T05:22:18.690" v="314" actId="1076"/>
          <ac:spMkLst>
            <pc:docMk/>
            <pc:sldMk cId="1668940252" sldId="466"/>
            <ac:spMk id="8" creationId="{C61CAADA-E63A-2D58-4E3D-16DCD2DE5FB9}"/>
          </ac:spMkLst>
        </pc:spChg>
        <pc:spChg chg="del">
          <ac:chgData name="eli@carbongap.org" userId="S::urn:spo:guest#eli@carbongap.org::" providerId="AD" clId="Web-{6D90F28D-DA06-F898-97D1-913FEE355B55}" dt="2023-06-08T05:21:30.533" v="258"/>
          <ac:spMkLst>
            <pc:docMk/>
            <pc:sldMk cId="1668940252" sldId="466"/>
            <ac:spMk id="9" creationId="{AD2C3D67-C01C-B3F7-62AF-BFFB3AC01D57}"/>
          </ac:spMkLst>
        </pc:spChg>
        <pc:grpChg chg="del">
          <ac:chgData name="eli@carbongap.org" userId="S::urn:spo:guest#eli@carbongap.org::" providerId="AD" clId="Web-{6D90F28D-DA06-F898-97D1-913FEE355B55}" dt="2023-06-08T05:21:32.596" v="259"/>
          <ac:grpSpMkLst>
            <pc:docMk/>
            <pc:sldMk cId="1668940252" sldId="466"/>
            <ac:grpSpMk id="20" creationId="{2063EAC5-9F07-CAB1-8509-5C5C553C49E6}"/>
          </ac:grpSpMkLst>
        </pc:grpChg>
        <pc:grpChg chg="del">
          <ac:chgData name="eli@carbongap.org" userId="S::urn:spo:guest#eli@carbongap.org::" providerId="AD" clId="Web-{6D90F28D-DA06-F898-97D1-913FEE355B55}" dt="2023-06-08T05:21:32.596" v="261"/>
          <ac:grpSpMkLst>
            <pc:docMk/>
            <pc:sldMk cId="1668940252" sldId="466"/>
            <ac:grpSpMk id="21" creationId="{1AAE4855-81C8-44F2-F58D-83B045B5E970}"/>
          </ac:grpSpMkLst>
        </pc:grpChg>
        <pc:grpChg chg="del">
          <ac:chgData name="eli@carbongap.org" userId="S::urn:spo:guest#eli@carbongap.org::" providerId="AD" clId="Web-{6D90F28D-DA06-F898-97D1-913FEE355B55}" dt="2023-06-08T05:21:32.596" v="260"/>
          <ac:grpSpMkLst>
            <pc:docMk/>
            <pc:sldMk cId="1668940252" sldId="466"/>
            <ac:grpSpMk id="22" creationId="{C1C58E62-BEE3-3430-FDF7-496D58D43581}"/>
          </ac:grpSpMkLst>
        </pc:grpChg>
      </pc:sldChg>
      <pc:sldChg chg="addSp delSp modSp new ord addAnim">
        <pc:chgData name="eli@carbongap.org" userId="S::urn:spo:guest#eli@carbongap.org::" providerId="AD" clId="Web-{6D90F28D-DA06-F898-97D1-913FEE355B55}" dt="2023-06-08T05:42:40.024" v="706" actId="14100"/>
        <pc:sldMkLst>
          <pc:docMk/>
          <pc:sldMk cId="1249407793" sldId="467"/>
        </pc:sldMkLst>
        <pc:spChg chg="del">
          <ac:chgData name="eli@carbongap.org" userId="S::urn:spo:guest#eli@carbongap.org::" providerId="AD" clId="Web-{6D90F28D-DA06-F898-97D1-913FEE355B55}" dt="2023-06-08T05:23:10.581" v="346"/>
          <ac:spMkLst>
            <pc:docMk/>
            <pc:sldMk cId="1249407793" sldId="467"/>
            <ac:spMk id="2" creationId="{CB7585D6-2DA1-4FA8-594F-0FF04A790404}"/>
          </ac:spMkLst>
        </pc:spChg>
        <pc:spChg chg="add del mod">
          <ac:chgData name="eli@carbongap.org" userId="S::urn:spo:guest#eli@carbongap.org::" providerId="AD" clId="Web-{6D90F28D-DA06-F898-97D1-913FEE355B55}" dt="2023-06-08T05:25:56.145" v="350"/>
          <ac:spMkLst>
            <pc:docMk/>
            <pc:sldMk cId="1249407793" sldId="467"/>
            <ac:spMk id="3" creationId="{1CA5190E-F8CD-CC46-7AA1-520E992D3D9E}"/>
          </ac:spMkLst>
        </pc:spChg>
        <pc:spChg chg="add del">
          <ac:chgData name="eli@carbongap.org" userId="S::urn:spo:guest#eli@carbongap.org::" providerId="AD" clId="Web-{6D90F28D-DA06-F898-97D1-913FEE355B55}" dt="2023-06-08T05:42:08.946" v="656"/>
          <ac:spMkLst>
            <pc:docMk/>
            <pc:sldMk cId="1249407793" sldId="467"/>
            <ac:spMk id="3" creationId="{C0844B04-3183-1427-2834-494A63216DD6}"/>
          </ac:spMkLst>
        </pc:spChg>
        <pc:spChg chg="add mod">
          <ac:chgData name="eli@carbongap.org" userId="S::urn:spo:guest#eli@carbongap.org::" providerId="AD" clId="Web-{6D90F28D-DA06-F898-97D1-913FEE355B55}" dt="2023-06-08T05:42:40.024" v="706" actId="14100"/>
          <ac:spMkLst>
            <pc:docMk/>
            <pc:sldMk cId="1249407793" sldId="467"/>
            <ac:spMk id="7" creationId="{536A5C7C-342D-97E2-CA91-797239E6C317}"/>
          </ac:spMkLst>
        </pc:spChg>
        <pc:picChg chg="add mod modCrop">
          <ac:chgData name="eli@carbongap.org" userId="S::urn:spo:guest#eli@carbongap.org::" providerId="AD" clId="Web-{6D90F28D-DA06-F898-97D1-913FEE355B55}" dt="2023-06-08T05:30:14.882" v="369" actId="1076"/>
          <ac:picMkLst>
            <pc:docMk/>
            <pc:sldMk cId="1249407793" sldId="467"/>
            <ac:picMk id="4" creationId="{594A21EE-7F1F-A0C0-005A-7F553AC77B42}"/>
          </ac:picMkLst>
        </pc:picChg>
        <pc:picChg chg="add mod modCrop">
          <ac:chgData name="eli@carbongap.org" userId="S::urn:spo:guest#eli@carbongap.org::" providerId="AD" clId="Web-{6D90F28D-DA06-F898-97D1-913FEE355B55}" dt="2023-06-08T05:30:13.429" v="368" actId="1076"/>
          <ac:picMkLst>
            <pc:docMk/>
            <pc:sldMk cId="1249407793" sldId="467"/>
            <ac:picMk id="5" creationId="{C765B03C-2950-814A-EBAE-43696E195CF5}"/>
          </ac:picMkLst>
        </pc:picChg>
      </pc:sldChg>
      <pc:sldChg chg="addSp delSp modSp new ord">
        <pc:chgData name="eli@carbongap.org" userId="S::urn:spo:guest#eli@carbongap.org::" providerId="AD" clId="Web-{6D90F28D-DA06-F898-97D1-913FEE355B55}" dt="2023-06-08T06:43:00.608" v="901" actId="20577"/>
        <pc:sldMkLst>
          <pc:docMk/>
          <pc:sldMk cId="3196434517" sldId="468"/>
        </pc:sldMkLst>
        <pc:spChg chg="del">
          <ac:chgData name="eli@carbongap.org" userId="S::urn:spo:guest#eli@carbongap.org::" providerId="AD" clId="Web-{6D90F28D-DA06-F898-97D1-913FEE355B55}" dt="2023-06-08T05:34:51.494" v="495"/>
          <ac:spMkLst>
            <pc:docMk/>
            <pc:sldMk cId="3196434517" sldId="468"/>
            <ac:spMk id="2" creationId="{C6E813C5-BDD3-84D9-8F5B-E83878BF1D15}"/>
          </ac:spMkLst>
        </pc:spChg>
        <pc:spChg chg="add del mod">
          <ac:chgData name="eli@carbongap.org" userId="S::urn:spo:guest#eli@carbongap.org::" providerId="AD" clId="Web-{6D90F28D-DA06-F898-97D1-913FEE355B55}" dt="2023-06-08T05:34:59.838" v="498"/>
          <ac:spMkLst>
            <pc:docMk/>
            <pc:sldMk cId="3196434517" sldId="468"/>
            <ac:spMk id="3" creationId="{C9A71711-54F0-94EA-C5F4-371A749BD286}"/>
          </ac:spMkLst>
        </pc:spChg>
        <pc:spChg chg="add mod">
          <ac:chgData name="eli@carbongap.org" userId="S::urn:spo:guest#eli@carbongap.org::" providerId="AD" clId="Web-{6D90F28D-DA06-F898-97D1-913FEE355B55}" dt="2023-06-08T06:31:25.869" v="837" actId="20577"/>
          <ac:spMkLst>
            <pc:docMk/>
            <pc:sldMk cId="3196434517" sldId="468"/>
            <ac:spMk id="5" creationId="{EE7E2A77-564E-96FF-4470-F651DCCD5462}"/>
          </ac:spMkLst>
        </pc:spChg>
        <pc:spChg chg="add del mod">
          <ac:chgData name="eli@carbongap.org" userId="S::urn:spo:guest#eli@carbongap.org::" providerId="AD" clId="Web-{6D90F28D-DA06-F898-97D1-913FEE355B55}" dt="2023-06-08T06:43:00.608" v="901" actId="20577"/>
          <ac:spMkLst>
            <pc:docMk/>
            <pc:sldMk cId="3196434517" sldId="468"/>
            <ac:spMk id="7" creationId="{EB2A3C32-DDF7-2344-7B1E-9A0AAF6E67DF}"/>
          </ac:spMkLst>
        </pc:spChg>
      </pc:sldChg>
      <pc:sldChg chg="modSp add ord replId">
        <pc:chgData name="eli@carbongap.org" userId="S::urn:spo:guest#eli@carbongap.org::" providerId="AD" clId="Web-{6D90F28D-DA06-F898-97D1-913FEE355B55}" dt="2023-06-08T06:09:47.042" v="807"/>
        <pc:sldMkLst>
          <pc:docMk/>
          <pc:sldMk cId="784664151" sldId="469"/>
        </pc:sldMkLst>
        <pc:spChg chg="mod">
          <ac:chgData name="eli@carbongap.org" userId="S::urn:spo:guest#eli@carbongap.org::" providerId="AD" clId="Web-{6D90F28D-DA06-F898-97D1-913FEE355B55}" dt="2023-06-08T05:41:20.477" v="652" actId="20577"/>
          <ac:spMkLst>
            <pc:docMk/>
            <pc:sldMk cId="784664151" sldId="469"/>
            <ac:spMk id="5" creationId="{EE7E2A77-564E-96FF-4470-F651DCCD5462}"/>
          </ac:spMkLst>
        </pc:spChg>
        <pc:spChg chg="mod">
          <ac:chgData name="eli@carbongap.org" userId="S::urn:spo:guest#eli@carbongap.org::" providerId="AD" clId="Web-{6D90F28D-DA06-F898-97D1-913FEE355B55}" dt="2023-06-08T05:41:14.805" v="632" actId="20577"/>
          <ac:spMkLst>
            <pc:docMk/>
            <pc:sldMk cId="784664151" sldId="469"/>
            <ac:spMk id="7" creationId="{EB2A3C32-DDF7-2344-7B1E-9A0AAF6E67DF}"/>
          </ac:spMkLst>
        </pc:spChg>
      </pc:sldChg>
      <pc:sldChg chg="modSp add del replId">
        <pc:chgData name="eli@carbongap.org" userId="S::urn:spo:guest#eli@carbongap.org::" providerId="AD" clId="Web-{6D90F28D-DA06-F898-97D1-913FEE355B55}" dt="2023-06-08T07:13:16.934" v="957"/>
        <pc:sldMkLst>
          <pc:docMk/>
          <pc:sldMk cId="2011456882" sldId="470"/>
        </pc:sldMkLst>
        <pc:spChg chg="mod">
          <ac:chgData name="eli@carbongap.org" userId="S::urn:spo:guest#eli@carbongap.org::" providerId="AD" clId="Web-{6D90F28D-DA06-F898-97D1-913FEE355B55}" dt="2023-06-08T06:10:17.355" v="822" actId="20577"/>
          <ac:spMkLst>
            <pc:docMk/>
            <pc:sldMk cId="2011456882" sldId="470"/>
            <ac:spMk id="57" creationId="{00000000-0000-0000-0000-000000000000}"/>
          </ac:spMkLst>
        </pc:spChg>
      </pc:sldChg>
      <pc:sldChg chg="add ord replId">
        <pc:chgData name="eli@carbongap.org" userId="S::urn:spo:guest#eli@carbongap.org::" providerId="AD" clId="Web-{6D90F28D-DA06-F898-97D1-913FEE355B55}" dt="2023-06-08T06:42:10.905" v="869"/>
        <pc:sldMkLst>
          <pc:docMk/>
          <pc:sldMk cId="2454344477" sldId="471"/>
        </pc:sldMkLst>
      </pc:sldChg>
      <pc:sldChg chg="add">
        <pc:chgData name="eli@carbongap.org" userId="S::urn:spo:guest#eli@carbongap.org::" providerId="AD" clId="Web-{6D90F28D-DA06-F898-97D1-913FEE355B55}" dt="2023-06-08T07:14:50.216" v="959"/>
        <pc:sldMkLst>
          <pc:docMk/>
          <pc:sldMk cId="574744484" sldId="472"/>
        </pc:sldMkLst>
      </pc:sldChg>
      <pc:sldMasterChg chg="add addSldLayout">
        <pc:chgData name="eli@carbongap.org" userId="S::urn:spo:guest#eli@carbongap.org::" providerId="AD" clId="Web-{6D90F28D-DA06-F898-97D1-913FEE355B55}" dt="2023-06-08T05:06:01.164" v="10"/>
        <pc:sldMasterMkLst>
          <pc:docMk/>
          <pc:sldMasterMk cId="959206808" sldId="2147483648"/>
        </pc:sldMasterMkLst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2763821782" sldId="2147483649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1546014809" sldId="2147483650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2460627546" sldId="2147483651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743518793" sldId="2147483652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828402743" sldId="2147483653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2562638903" sldId="2147483654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913370050" sldId="2147483655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2341905213" sldId="2147483656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2469452702" sldId="2147483657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4121727751" sldId="2147483658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2148616313" sldId="2147483659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1433096951" sldId="2147483660"/>
          </pc:sldLayoutMkLst>
        </pc:sldLayoutChg>
        <pc:sldLayoutChg chg="add">
          <pc:chgData name="eli@carbongap.org" userId="S::urn:spo:guest#eli@carbongap.org::" providerId="AD" clId="Web-{6D90F28D-DA06-F898-97D1-913FEE355B55}" dt="2023-06-08T05:06:01.164" v="10"/>
          <pc:sldLayoutMkLst>
            <pc:docMk/>
            <pc:sldMasterMk cId="959206808" sldId="2147483648"/>
            <pc:sldLayoutMk cId="805440496" sldId="2147483661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3915905424" sldId="2147483662"/>
          </pc:sldLayoutMkLst>
        </pc:sldLayoutChg>
        <pc:sldLayoutChg chg="ad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959206808" sldId="2147483648"/>
            <pc:sldLayoutMk cId="611162888" sldId="2147483731"/>
          </pc:sldLayoutMkLst>
        </pc:sldLayoutChg>
      </pc:sldMasterChg>
      <pc:sldMasterChg chg="replId modSldLayout">
        <pc:chgData name="eli@carbongap.org" userId="S::urn:spo:guest#eli@carbongap.org::" providerId="AD" clId="Web-{6D90F28D-DA06-F898-97D1-913FEE355B55}" dt="2023-06-08T05:06:01.164" v="10"/>
        <pc:sldMasterMkLst>
          <pc:docMk/>
          <pc:sldMasterMk cId="4274930610" sldId="2147483732"/>
        </pc:sldMasterMkLst>
        <pc:sldLayoutChg chg="replI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4274930610" sldId="2147483732"/>
            <pc:sldLayoutMk cId="1475728614" sldId="2147483733"/>
          </pc:sldLayoutMkLst>
        </pc:sldLayoutChg>
        <pc:sldLayoutChg chg="replI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4274930610" sldId="2147483732"/>
            <pc:sldLayoutMk cId="1022156612" sldId="2147483734"/>
          </pc:sldLayoutMkLst>
        </pc:sldLayoutChg>
        <pc:sldLayoutChg chg="replI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4274930610" sldId="2147483732"/>
            <pc:sldLayoutMk cId="3241418471" sldId="2147483735"/>
          </pc:sldLayoutMkLst>
        </pc:sldLayoutChg>
        <pc:sldLayoutChg chg="replI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4274930610" sldId="2147483732"/>
            <pc:sldLayoutMk cId="2818606554" sldId="2147483736"/>
          </pc:sldLayoutMkLst>
        </pc:sldLayoutChg>
        <pc:sldLayoutChg chg="replI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4274930610" sldId="2147483732"/>
            <pc:sldLayoutMk cId="2464028626" sldId="2147483737"/>
          </pc:sldLayoutMkLst>
        </pc:sldLayoutChg>
        <pc:sldLayoutChg chg="replI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4274930610" sldId="2147483732"/>
            <pc:sldLayoutMk cId="4229372974" sldId="2147483738"/>
          </pc:sldLayoutMkLst>
        </pc:sldLayoutChg>
        <pc:sldLayoutChg chg="replId">
          <pc:chgData name="eli@carbongap.org" userId="S::urn:spo:guest#eli@carbongap.org::" providerId="AD" clId="Web-{6D90F28D-DA06-F898-97D1-913FEE355B55}" dt="2023-06-08T05:04:56.004" v="6"/>
          <pc:sldLayoutMkLst>
            <pc:docMk/>
            <pc:sldMasterMk cId="4274930610" sldId="2147483732"/>
            <pc:sldLayoutMk cId="3168114492" sldId="2147483739"/>
          </pc:sldLayoutMkLst>
        </pc:sldLayoutChg>
        <pc:sldLayoutChg chg="replId">
          <pc:chgData name="eli@carbongap.org" userId="S::urn:spo:guest#eli@carbongap.org::" providerId="AD" clId="Web-{6D90F28D-DA06-F898-97D1-913FEE355B55}" dt="2023-06-08T05:06:01.164" v="10"/>
          <pc:sldLayoutMkLst>
            <pc:docMk/>
            <pc:sldMasterMk cId="4274930610" sldId="2147483732"/>
            <pc:sldLayoutMk cId="2478734093" sldId="2147483740"/>
          </pc:sldLayoutMkLst>
        </pc:sldLayoutChg>
      </pc:sldMasterChg>
    </pc:docChg>
  </pc:docChgLst>
  <pc:docChgLst>
    <pc:chgData name="eli@carbongap.org" userId="S::urn:spo:guest#eli@carbongap.org::" providerId="AD" clId="Web-{AE129738-821C-1746-A850-A69A81840567}"/>
    <pc:docChg chg="addSld delSld modSld sldOrd addMainMaster modMainMaster">
      <pc:chgData name="eli@carbongap.org" userId="S::urn:spo:guest#eli@carbongap.org::" providerId="AD" clId="Web-{AE129738-821C-1746-A850-A69A81840567}" dt="2023-06-08T09:56:14.054" v="1822" actId="20577"/>
      <pc:docMkLst>
        <pc:docMk/>
      </pc:docMkLst>
      <pc:sldChg chg="mod modShow">
        <pc:chgData name="eli@carbongap.org" userId="S::urn:spo:guest#eli@carbongap.org::" providerId="AD" clId="Web-{AE129738-821C-1746-A850-A69A81840567}" dt="2023-06-08T08:14:51.553" v="1417"/>
        <pc:sldMkLst>
          <pc:docMk/>
          <pc:sldMk cId="3917022426" sldId="301"/>
        </pc:sldMkLst>
      </pc:sldChg>
      <pc:sldChg chg="modSp">
        <pc:chgData name="eli@carbongap.org" userId="S::urn:spo:guest#eli@carbongap.org::" providerId="AD" clId="Web-{AE129738-821C-1746-A850-A69A81840567}" dt="2023-06-08T09:52:29.708" v="1753" actId="14100"/>
        <pc:sldMkLst>
          <pc:docMk/>
          <pc:sldMk cId="2483532130" sldId="323"/>
        </pc:sldMkLst>
        <pc:spChg chg="mod">
          <ac:chgData name="eli@carbongap.org" userId="S::urn:spo:guest#eli@carbongap.org::" providerId="AD" clId="Web-{AE129738-821C-1746-A850-A69A81840567}" dt="2023-06-08T09:52:21.739" v="1749" actId="14100"/>
          <ac:spMkLst>
            <pc:docMk/>
            <pc:sldMk cId="2483532130" sldId="323"/>
            <ac:spMk id="3" creationId="{B2D39AB2-1BE1-4D3E-BFC5-CBA5161A4F8A}"/>
          </ac:spMkLst>
        </pc:spChg>
        <pc:spChg chg="mod">
          <ac:chgData name="eli@carbongap.org" userId="S::urn:spo:guest#eli@carbongap.org::" providerId="AD" clId="Web-{AE129738-821C-1746-A850-A69A81840567}" dt="2023-06-08T09:52:29.708" v="1753" actId="14100"/>
          <ac:spMkLst>
            <pc:docMk/>
            <pc:sldMk cId="2483532130" sldId="323"/>
            <ac:spMk id="4" creationId="{72EE47D4-9C26-43C4-9AF0-97E9AB161BFA}"/>
          </ac:spMkLst>
        </pc:spChg>
      </pc:sldChg>
      <pc:sldChg chg="modSp">
        <pc:chgData name="eli@carbongap.org" userId="S::urn:spo:guest#eli@carbongap.org::" providerId="AD" clId="Web-{AE129738-821C-1746-A850-A69A81840567}" dt="2023-06-08T07:19:43.424" v="290" actId="20577"/>
        <pc:sldMkLst>
          <pc:docMk/>
          <pc:sldMk cId="4259087471" sldId="335"/>
        </pc:sldMkLst>
        <pc:spChg chg="mod">
          <ac:chgData name="eli@carbongap.org" userId="S::urn:spo:guest#eli@carbongap.org::" providerId="AD" clId="Web-{AE129738-821C-1746-A850-A69A81840567}" dt="2023-06-08T07:19:43.424" v="290" actId="20577"/>
          <ac:spMkLst>
            <pc:docMk/>
            <pc:sldMk cId="4259087471" sldId="335"/>
            <ac:spMk id="19" creationId="{BB97DD17-B3E8-7603-5B28-245D93CFECC7}"/>
          </ac:spMkLst>
        </pc:spChg>
      </pc:sldChg>
      <pc:sldChg chg="modSp">
        <pc:chgData name="eli@carbongap.org" userId="S::urn:spo:guest#eli@carbongap.org::" providerId="AD" clId="Web-{AE129738-821C-1746-A850-A69A81840567}" dt="2023-06-08T07:51:17.569" v="712" actId="1076"/>
        <pc:sldMkLst>
          <pc:docMk/>
          <pc:sldMk cId="469091352" sldId="336"/>
        </pc:sldMkLst>
        <pc:picChg chg="mod">
          <ac:chgData name="eli@carbongap.org" userId="S::urn:spo:guest#eli@carbongap.org::" providerId="AD" clId="Web-{AE129738-821C-1746-A850-A69A81840567}" dt="2023-06-08T07:51:17.569" v="712" actId="1076"/>
          <ac:picMkLst>
            <pc:docMk/>
            <pc:sldMk cId="469091352" sldId="336"/>
            <ac:picMk id="18" creationId="{A1F89BC6-A5F2-E6AB-A492-88849FD7013C}"/>
          </ac:picMkLst>
        </pc:picChg>
      </pc:sldChg>
      <pc:sldChg chg="modSp">
        <pc:chgData name="eli@carbongap.org" userId="S::urn:spo:guest#eli@carbongap.org::" providerId="AD" clId="Web-{AE129738-821C-1746-A850-A69A81840567}" dt="2023-06-08T07:19:52.330" v="292" actId="20577"/>
        <pc:sldMkLst>
          <pc:docMk/>
          <pc:sldMk cId="3898620242" sldId="452"/>
        </pc:sldMkLst>
        <pc:spChg chg="mod">
          <ac:chgData name="eli@carbongap.org" userId="S::urn:spo:guest#eli@carbongap.org::" providerId="AD" clId="Web-{AE129738-821C-1746-A850-A69A81840567}" dt="2023-06-08T07:19:52.330" v="292" actId="20577"/>
          <ac:spMkLst>
            <pc:docMk/>
            <pc:sldMk cId="3898620242" sldId="452"/>
            <ac:spMk id="6" creationId="{426024FD-B9CB-F03A-EE14-D0B1541ACDB0}"/>
          </ac:spMkLst>
        </pc:spChg>
      </pc:sldChg>
      <pc:sldChg chg="modSp del">
        <pc:chgData name="eli@carbongap.org" userId="S::urn:spo:guest#eli@carbongap.org::" providerId="AD" clId="Web-{AE129738-821C-1746-A850-A69A81840567}" dt="2023-06-08T09:54:32.335" v="1793"/>
        <pc:sldMkLst>
          <pc:docMk/>
          <pc:sldMk cId="1248552194" sldId="455"/>
        </pc:sldMkLst>
        <pc:spChg chg="mod">
          <ac:chgData name="eli@carbongap.org" userId="S::urn:spo:guest#eli@carbongap.org::" providerId="AD" clId="Web-{AE129738-821C-1746-A850-A69A81840567}" dt="2023-06-08T09:53:47.053" v="1781" actId="1076"/>
          <ac:spMkLst>
            <pc:docMk/>
            <pc:sldMk cId="1248552194" sldId="455"/>
            <ac:spMk id="13" creationId="{23AA66A7-E8D4-4D19-A21F-FE44C8C8ADFC}"/>
          </ac:spMkLst>
        </pc:spChg>
      </pc:sldChg>
      <pc:sldChg chg="del">
        <pc:chgData name="eli@carbongap.org" userId="S::urn:spo:guest#eli@carbongap.org::" providerId="AD" clId="Web-{AE129738-821C-1746-A850-A69A81840567}" dt="2023-06-08T09:54:46.507" v="1800"/>
        <pc:sldMkLst>
          <pc:docMk/>
          <pc:sldMk cId="1844413312" sldId="456"/>
        </pc:sldMkLst>
      </pc:sldChg>
      <pc:sldChg chg="modSp">
        <pc:chgData name="eli@carbongap.org" userId="S::urn:spo:guest#eli@carbongap.org::" providerId="AD" clId="Web-{AE129738-821C-1746-A850-A69A81840567}" dt="2023-06-08T07:22:20.207" v="294" actId="20577"/>
        <pc:sldMkLst>
          <pc:docMk/>
          <pc:sldMk cId="3359159198" sldId="458"/>
        </pc:sldMkLst>
        <pc:spChg chg="mod">
          <ac:chgData name="eli@carbongap.org" userId="S::urn:spo:guest#eli@carbongap.org::" providerId="AD" clId="Web-{AE129738-821C-1746-A850-A69A81840567}" dt="2023-06-08T07:22:20.207" v="294" actId="20577"/>
          <ac:spMkLst>
            <pc:docMk/>
            <pc:sldMk cId="3359159198" sldId="458"/>
            <ac:spMk id="4" creationId="{72EE47D4-9C26-43C4-9AF0-97E9AB161BFA}"/>
          </ac:spMkLst>
        </pc:spChg>
      </pc:sldChg>
      <pc:sldChg chg="del">
        <pc:chgData name="eli@carbongap.org" userId="S::urn:spo:guest#eli@carbongap.org::" providerId="AD" clId="Web-{AE129738-821C-1746-A850-A69A81840567}" dt="2023-06-08T09:55:21.944" v="1808"/>
        <pc:sldMkLst>
          <pc:docMk/>
          <pc:sldMk cId="472098760" sldId="459"/>
        </pc:sldMkLst>
      </pc:sldChg>
      <pc:sldChg chg="modSp">
        <pc:chgData name="eli@carbongap.org" userId="S::urn:spo:guest#eli@carbongap.org::" providerId="AD" clId="Web-{AE129738-821C-1746-A850-A69A81840567}" dt="2023-06-08T09:25:10.159" v="1423" actId="20577"/>
        <pc:sldMkLst>
          <pc:docMk/>
          <pc:sldMk cId="253103803" sldId="461"/>
        </pc:sldMkLst>
        <pc:spChg chg="mod">
          <ac:chgData name="eli@carbongap.org" userId="S::urn:spo:guest#eli@carbongap.org::" providerId="AD" clId="Web-{AE129738-821C-1746-A850-A69A81840567}" dt="2023-06-08T09:24:56.862" v="1420" actId="20577"/>
          <ac:spMkLst>
            <pc:docMk/>
            <pc:sldMk cId="253103803" sldId="461"/>
            <ac:spMk id="32" creationId="{309E155E-9C64-A6E7-5436-64BC7B1A7FE1}"/>
          </ac:spMkLst>
        </pc:spChg>
        <pc:spChg chg="mod">
          <ac:chgData name="eli@carbongap.org" userId="S::urn:spo:guest#eli@carbongap.org::" providerId="AD" clId="Web-{AE129738-821C-1746-A850-A69A81840567}" dt="2023-06-08T09:25:10.159" v="1423" actId="20577"/>
          <ac:spMkLst>
            <pc:docMk/>
            <pc:sldMk cId="253103803" sldId="461"/>
            <ac:spMk id="33" creationId="{AAB2FD8B-88D2-C545-0EDB-779B5AED7E22}"/>
          </ac:spMkLst>
        </pc:spChg>
      </pc:sldChg>
      <pc:sldChg chg="addSp delSp modSp">
        <pc:chgData name="eli@carbongap.org" userId="S::urn:spo:guest#eli@carbongap.org::" providerId="AD" clId="Web-{AE129738-821C-1746-A850-A69A81840567}" dt="2023-06-08T09:29:13.834" v="1445" actId="1076"/>
        <pc:sldMkLst>
          <pc:docMk/>
          <pc:sldMk cId="3093364598" sldId="463"/>
        </pc:sldMkLst>
        <pc:spChg chg="add del mod">
          <ac:chgData name="eli@carbongap.org" userId="S::urn:spo:guest#eli@carbongap.org::" providerId="AD" clId="Web-{AE129738-821C-1746-A850-A69A81840567}" dt="2023-06-08T09:29:06.521" v="1440"/>
          <ac:spMkLst>
            <pc:docMk/>
            <pc:sldMk cId="3093364598" sldId="463"/>
            <ac:spMk id="4" creationId="{1E8A2A3D-4EF3-219A-19AE-B668578C0D47}"/>
          </ac:spMkLst>
        </pc:spChg>
        <pc:picChg chg="add mod modCrop">
          <ac:chgData name="eli@carbongap.org" userId="S::urn:spo:guest#eli@carbongap.org::" providerId="AD" clId="Web-{AE129738-821C-1746-A850-A69A81840567}" dt="2023-06-08T09:29:13.834" v="1445" actId="1076"/>
          <ac:picMkLst>
            <pc:docMk/>
            <pc:sldMk cId="3093364598" sldId="463"/>
            <ac:picMk id="2" creationId="{55A6EB59-2C50-6A58-5811-AB9EC4660843}"/>
          </ac:picMkLst>
        </pc:picChg>
        <pc:picChg chg="del">
          <ac:chgData name="eli@carbongap.org" userId="S::urn:spo:guest#eli@carbongap.org::" providerId="AD" clId="Web-{AE129738-821C-1746-A850-A69A81840567}" dt="2023-06-08T09:29:01.302" v="1437"/>
          <ac:picMkLst>
            <pc:docMk/>
            <pc:sldMk cId="3093364598" sldId="463"/>
            <ac:picMk id="7" creationId="{D39EE0E3-8469-5DBF-BBF2-7F93BDD0A3AB}"/>
          </ac:picMkLst>
        </pc:picChg>
        <pc:picChg chg="del">
          <ac:chgData name="eli@carbongap.org" userId="S::urn:spo:guest#eli@carbongap.org::" providerId="AD" clId="Web-{AE129738-821C-1746-A850-A69A81840567}" dt="2023-06-08T09:29:01.146" v="1436"/>
          <ac:picMkLst>
            <pc:docMk/>
            <pc:sldMk cId="3093364598" sldId="463"/>
            <ac:picMk id="10" creationId="{4295E2F4-1A26-3A3C-99B8-F48838650C3D}"/>
          </ac:picMkLst>
        </pc:picChg>
        <pc:picChg chg="del">
          <ac:chgData name="eli@carbongap.org" userId="S::urn:spo:guest#eli@carbongap.org::" providerId="AD" clId="Web-{AE129738-821C-1746-A850-A69A81840567}" dt="2023-06-08T09:29:01.302" v="1438"/>
          <ac:picMkLst>
            <pc:docMk/>
            <pc:sldMk cId="3093364598" sldId="463"/>
            <ac:picMk id="11" creationId="{9BD3EEFE-5382-0A4C-0275-A833FEFE81F0}"/>
          </ac:picMkLst>
        </pc:picChg>
        <pc:picChg chg="del">
          <ac:chgData name="eli@carbongap.org" userId="S::urn:spo:guest#eli@carbongap.org::" providerId="AD" clId="Web-{AE129738-821C-1746-A850-A69A81840567}" dt="2023-06-08T09:29:01.146" v="1435"/>
          <ac:picMkLst>
            <pc:docMk/>
            <pc:sldMk cId="3093364598" sldId="463"/>
            <ac:picMk id="12" creationId="{9A2E19F3-3DD5-3809-FD53-297AF32920A5}"/>
          </ac:picMkLst>
        </pc:picChg>
      </pc:sldChg>
      <pc:sldChg chg="addSp delSp modSp">
        <pc:chgData name="eli@carbongap.org" userId="S::urn:spo:guest#eli@carbongap.org::" providerId="AD" clId="Web-{AE129738-821C-1746-A850-A69A81840567}" dt="2023-06-08T09:40:51.388" v="1667"/>
        <pc:sldMkLst>
          <pc:docMk/>
          <pc:sldMk cId="2628176628" sldId="464"/>
        </pc:sldMkLst>
        <pc:picChg chg="add del mod">
          <ac:chgData name="eli@carbongap.org" userId="S::urn:spo:guest#eli@carbongap.org::" providerId="AD" clId="Web-{AE129738-821C-1746-A850-A69A81840567}" dt="2023-06-08T09:40:51.388" v="1667"/>
          <ac:picMkLst>
            <pc:docMk/>
            <pc:sldMk cId="2628176628" sldId="464"/>
            <ac:picMk id="2" creationId="{A85B72A4-597F-F5FA-F187-BF96D9BAA0C8}"/>
          </ac:picMkLst>
        </pc:picChg>
      </pc:sldChg>
      <pc:sldChg chg="modSp">
        <pc:chgData name="eli@carbongap.org" userId="S::urn:spo:guest#eli@carbongap.org::" providerId="AD" clId="Web-{AE129738-821C-1746-A850-A69A81840567}" dt="2023-06-08T09:41:24.654" v="1696" actId="20577"/>
        <pc:sldMkLst>
          <pc:docMk/>
          <pc:sldMk cId="2364397673" sldId="465"/>
        </pc:sldMkLst>
        <pc:spChg chg="mod">
          <ac:chgData name="eli@carbongap.org" userId="S::urn:spo:guest#eli@carbongap.org::" providerId="AD" clId="Web-{AE129738-821C-1746-A850-A69A81840567}" dt="2023-06-08T09:41:24.654" v="1696" actId="20577"/>
          <ac:spMkLst>
            <pc:docMk/>
            <pc:sldMk cId="2364397673" sldId="465"/>
            <ac:spMk id="2" creationId="{B2638E05-0A67-2998-AEBB-1E0489E53EB1}"/>
          </ac:spMkLst>
        </pc:spChg>
      </pc:sldChg>
      <pc:sldChg chg="delSp modSp ord">
        <pc:chgData name="eli@carbongap.org" userId="S::urn:spo:guest#eli@carbongap.org::" providerId="AD" clId="Web-{AE129738-821C-1746-A850-A69A81840567}" dt="2023-06-08T07:28:29.804" v="329" actId="1076"/>
        <pc:sldMkLst>
          <pc:docMk/>
          <pc:sldMk cId="1668940252" sldId="466"/>
        </pc:sldMkLst>
        <pc:spChg chg="mod">
          <ac:chgData name="eli@carbongap.org" userId="S::urn:spo:guest#eli@carbongap.org::" providerId="AD" clId="Web-{AE129738-821C-1746-A850-A69A81840567}" dt="2023-06-08T07:28:29.804" v="329" actId="1076"/>
          <ac:spMkLst>
            <pc:docMk/>
            <pc:sldMk cId="1668940252" sldId="466"/>
            <ac:spMk id="3" creationId="{32A95D83-AB8D-A9A7-FADA-9174B2CAA13E}"/>
          </ac:spMkLst>
        </pc:spChg>
        <pc:spChg chg="mod">
          <ac:chgData name="eli@carbongap.org" userId="S::urn:spo:guest#eli@carbongap.org::" providerId="AD" clId="Web-{AE129738-821C-1746-A850-A69A81840567}" dt="2023-06-08T07:28:24.492" v="328" actId="1076"/>
          <ac:spMkLst>
            <pc:docMk/>
            <pc:sldMk cId="1668940252" sldId="466"/>
            <ac:spMk id="4" creationId="{A3FB7615-AE40-1234-0509-8B801F8C4668}"/>
          </ac:spMkLst>
        </pc:spChg>
        <pc:spChg chg="mod">
          <ac:chgData name="eli@carbongap.org" userId="S::urn:spo:guest#eli@carbongap.org::" providerId="AD" clId="Web-{AE129738-821C-1746-A850-A69A81840567}" dt="2023-06-08T07:27:09.647" v="314" actId="20577"/>
          <ac:spMkLst>
            <pc:docMk/>
            <pc:sldMk cId="1668940252" sldId="466"/>
            <ac:spMk id="8" creationId="{C61CAADA-E63A-2D58-4E3D-16DCD2DE5FB9}"/>
          </ac:spMkLst>
        </pc:spChg>
        <pc:spChg chg="mod">
          <ac:chgData name="eli@carbongap.org" userId="S::urn:spo:guest#eli@carbongap.org::" providerId="AD" clId="Web-{AE129738-821C-1746-A850-A69A81840567}" dt="2023-06-08T07:27:45.882" v="319"/>
          <ac:spMkLst>
            <pc:docMk/>
            <pc:sldMk cId="1668940252" sldId="466"/>
            <ac:spMk id="14" creationId="{C5852D32-2FCF-9107-677A-4E81206FD9FE}"/>
          </ac:spMkLst>
        </pc:spChg>
        <pc:spChg chg="del">
          <ac:chgData name="eli@carbongap.org" userId="S::urn:spo:guest#eli@carbongap.org::" providerId="AD" clId="Web-{AE129738-821C-1746-A850-A69A81840567}" dt="2023-06-08T07:27:52.398" v="321"/>
          <ac:spMkLst>
            <pc:docMk/>
            <pc:sldMk cId="1668940252" sldId="466"/>
            <ac:spMk id="17" creationId="{4D1A981A-5FFC-0064-E844-F1C16CCDD94D}"/>
          </ac:spMkLst>
        </pc:spChg>
        <pc:grpChg chg="del">
          <ac:chgData name="eli@carbongap.org" userId="S::urn:spo:guest#eli@carbongap.org::" providerId="AD" clId="Web-{AE129738-821C-1746-A850-A69A81840567}" dt="2023-06-08T07:27:52.398" v="321"/>
          <ac:grpSpMkLst>
            <pc:docMk/>
            <pc:sldMk cId="1668940252" sldId="466"/>
            <ac:grpSpMk id="7" creationId="{8B443BD0-C276-211D-E0E1-7563107C418B}"/>
          </ac:grpSpMkLst>
        </pc:grpChg>
      </pc:sldChg>
      <pc:sldChg chg="addSp delSp modSp addAnim delAnim modAnim">
        <pc:chgData name="eli@carbongap.org" userId="S::urn:spo:guest#eli@carbongap.org::" providerId="AD" clId="Web-{AE129738-821C-1746-A850-A69A81840567}" dt="2023-06-08T09:42:17.686" v="1716" actId="1076"/>
        <pc:sldMkLst>
          <pc:docMk/>
          <pc:sldMk cId="1249407793" sldId="467"/>
        </pc:sldMkLst>
        <pc:spChg chg="add mod">
          <ac:chgData name="eli@carbongap.org" userId="S::urn:spo:guest#eli@carbongap.org::" providerId="AD" clId="Web-{AE129738-821C-1746-A850-A69A81840567}" dt="2023-06-08T08:11:16.457" v="1396" actId="20577"/>
          <ac:spMkLst>
            <pc:docMk/>
            <pc:sldMk cId="1249407793" sldId="467"/>
            <ac:spMk id="3" creationId="{98BE73DD-F261-A57F-0F53-CB330BA80A21}"/>
          </ac:spMkLst>
        </pc:spChg>
        <pc:spChg chg="add mod">
          <ac:chgData name="eli@carbongap.org" userId="S::urn:spo:guest#eli@carbongap.org::" providerId="AD" clId="Web-{AE129738-821C-1746-A850-A69A81840567}" dt="2023-06-08T09:42:17.686" v="1716" actId="1076"/>
          <ac:spMkLst>
            <pc:docMk/>
            <pc:sldMk cId="1249407793" sldId="467"/>
            <ac:spMk id="5" creationId="{D4A7F1A0-13A9-9987-963B-83D174EEA364}"/>
          </ac:spMkLst>
        </pc:spChg>
        <pc:spChg chg="mod">
          <ac:chgData name="eli@carbongap.org" userId="S::urn:spo:guest#eli@carbongap.org::" providerId="AD" clId="Web-{AE129738-821C-1746-A850-A69A81840567}" dt="2023-06-08T09:38:36.934" v="1649" actId="1076"/>
          <ac:spMkLst>
            <pc:docMk/>
            <pc:sldMk cId="1249407793" sldId="467"/>
            <ac:spMk id="7" creationId="{536A5C7C-342D-97E2-CA91-797239E6C317}"/>
          </ac:spMkLst>
        </pc:spChg>
        <pc:picChg chg="del">
          <ac:chgData name="eli@carbongap.org" userId="S::urn:spo:guest#eli@carbongap.org::" providerId="AD" clId="Web-{AE129738-821C-1746-A850-A69A81840567}" dt="2023-06-08T07:40:26.921" v="405"/>
          <ac:picMkLst>
            <pc:docMk/>
            <pc:sldMk cId="1249407793" sldId="467"/>
            <ac:picMk id="5" creationId="{C765B03C-2950-814A-EBAE-43696E195CF5}"/>
          </ac:picMkLst>
        </pc:picChg>
        <pc:picChg chg="add del mod">
          <ac:chgData name="eli@carbongap.org" userId="S::urn:spo:guest#eli@carbongap.org::" providerId="AD" clId="Web-{AE129738-821C-1746-A850-A69A81840567}" dt="2023-06-08T07:40:07.515" v="365"/>
          <ac:picMkLst>
            <pc:docMk/>
            <pc:sldMk cId="1249407793" sldId="467"/>
            <ac:picMk id="6" creationId="{A69D4B21-8F21-51A1-66DB-4FE169245AC5}"/>
          </ac:picMkLst>
        </pc:picChg>
        <pc:picChg chg="add del mod">
          <ac:chgData name="eli@carbongap.org" userId="S::urn:spo:guest#eli@carbongap.org::" providerId="AD" clId="Web-{AE129738-821C-1746-A850-A69A81840567}" dt="2023-06-08T08:09:49.284" v="1371"/>
          <ac:picMkLst>
            <pc:docMk/>
            <pc:sldMk cId="1249407793" sldId="467"/>
            <ac:picMk id="9" creationId="{812CA207-29AF-9C29-E64F-FBD14FFBF5FC}"/>
          </ac:picMkLst>
        </pc:picChg>
        <pc:picChg chg="add del mod">
          <ac:chgData name="eli@carbongap.org" userId="S::urn:spo:guest#eli@carbongap.org::" providerId="AD" clId="Web-{AE129738-821C-1746-A850-A69A81840567}" dt="2023-06-08T07:41:28.281" v="429"/>
          <ac:picMkLst>
            <pc:docMk/>
            <pc:sldMk cId="1249407793" sldId="467"/>
            <ac:picMk id="10" creationId="{0387C6DA-C89B-FEC9-93A4-38A7D204BAC2}"/>
          </ac:picMkLst>
        </pc:picChg>
        <pc:picChg chg="add mod">
          <ac:chgData name="eli@carbongap.org" userId="S::urn:spo:guest#eli@carbongap.org::" providerId="AD" clId="Web-{AE129738-821C-1746-A850-A69A81840567}" dt="2023-06-08T08:10:03.206" v="1377" actId="14100"/>
          <ac:picMkLst>
            <pc:docMk/>
            <pc:sldMk cId="1249407793" sldId="467"/>
            <ac:picMk id="11" creationId="{9BB77509-3B26-8D6E-8D77-D06895F9836F}"/>
          </ac:picMkLst>
        </pc:picChg>
      </pc:sldChg>
      <pc:sldChg chg="modSp">
        <pc:chgData name="eli@carbongap.org" userId="S::urn:spo:guest#eli@carbongap.org::" providerId="AD" clId="Web-{AE129738-821C-1746-A850-A69A81840567}" dt="2023-06-08T08:14:43.225" v="1416" actId="20577"/>
        <pc:sldMkLst>
          <pc:docMk/>
          <pc:sldMk cId="3196434517" sldId="468"/>
        </pc:sldMkLst>
        <pc:spChg chg="mod">
          <ac:chgData name="eli@carbongap.org" userId="S::urn:spo:guest#eli@carbongap.org::" providerId="AD" clId="Web-{AE129738-821C-1746-A850-A69A81840567}" dt="2023-06-08T08:14:43.225" v="1416" actId="20577"/>
          <ac:spMkLst>
            <pc:docMk/>
            <pc:sldMk cId="3196434517" sldId="468"/>
            <ac:spMk id="7" creationId="{EB2A3C32-DDF7-2344-7B1E-9A0AAF6E67DF}"/>
          </ac:spMkLst>
        </pc:spChg>
      </pc:sldChg>
      <pc:sldChg chg="addSp delSp modSp ord addAnim delAnim modAnim">
        <pc:chgData name="eli@carbongap.org" userId="S::urn:spo:guest#eli@carbongap.org::" providerId="AD" clId="Web-{AE129738-821C-1746-A850-A69A81840567}" dt="2023-06-08T09:38:29.230" v="1646" actId="20577"/>
        <pc:sldMkLst>
          <pc:docMk/>
          <pc:sldMk cId="784664151" sldId="469"/>
        </pc:sldMkLst>
        <pc:spChg chg="add mod">
          <ac:chgData name="eli@carbongap.org" userId="S::urn:spo:guest#eli@carbongap.org::" providerId="AD" clId="Web-{AE129738-821C-1746-A850-A69A81840567}" dt="2023-06-08T08:03:45.327" v="1293" actId="1076"/>
          <ac:spMkLst>
            <pc:docMk/>
            <pc:sldMk cId="784664151" sldId="469"/>
            <ac:spMk id="2" creationId="{98BA71E0-AAE9-EE96-B4E3-0BEC9A4B95E0}"/>
          </ac:spMkLst>
        </pc:spChg>
        <pc:spChg chg="add del mod">
          <ac:chgData name="eli@carbongap.org" userId="S::urn:spo:guest#eli@carbongap.org::" providerId="AD" clId="Web-{AE129738-821C-1746-A850-A69A81840567}" dt="2023-06-08T07:44:44.705" v="555"/>
          <ac:spMkLst>
            <pc:docMk/>
            <pc:sldMk cId="784664151" sldId="469"/>
            <ac:spMk id="3" creationId="{00FD667C-FA03-9440-60D1-51A840852CDD}"/>
          </ac:spMkLst>
        </pc:spChg>
        <pc:spChg chg="add mod">
          <ac:chgData name="eli@carbongap.org" userId="S::urn:spo:guest#eli@carbongap.org::" providerId="AD" clId="Web-{AE129738-821C-1746-A850-A69A81840567}" dt="2023-06-08T09:30:03.537" v="1450" actId="1076"/>
          <ac:spMkLst>
            <pc:docMk/>
            <pc:sldMk cId="784664151" sldId="469"/>
            <ac:spMk id="3" creationId="{D8460CF4-FAF9-1782-23BA-989C38D57C7F}"/>
          </ac:spMkLst>
        </pc:spChg>
        <pc:spChg chg="add mod">
          <ac:chgData name="eli@carbongap.org" userId="S::urn:spo:guest#eli@carbongap.org::" providerId="AD" clId="Web-{AE129738-821C-1746-A850-A69A81840567}" dt="2023-06-08T08:03:49.655" v="1296" actId="1076"/>
          <ac:spMkLst>
            <pc:docMk/>
            <pc:sldMk cId="784664151" sldId="469"/>
            <ac:spMk id="6" creationId="{B9E2E1BA-9E2B-5543-C190-49FA1DDB51AB}"/>
          </ac:spMkLst>
        </pc:spChg>
        <pc:spChg chg="mod">
          <ac:chgData name="eli@carbongap.org" userId="S::urn:spo:guest#eli@carbongap.org::" providerId="AD" clId="Web-{AE129738-821C-1746-A850-A69A81840567}" dt="2023-06-08T09:38:29.230" v="1646" actId="20577"/>
          <ac:spMkLst>
            <pc:docMk/>
            <pc:sldMk cId="784664151" sldId="469"/>
            <ac:spMk id="7" creationId="{EB2A3C32-DDF7-2344-7B1E-9A0AAF6E67DF}"/>
          </ac:spMkLst>
        </pc:spChg>
        <pc:spChg chg="add mod">
          <ac:chgData name="eli@carbongap.org" userId="S::urn:spo:guest#eli@carbongap.org::" providerId="AD" clId="Web-{AE129738-821C-1746-A850-A69A81840567}" dt="2023-06-08T09:38:03.636" v="1634" actId="1076"/>
          <ac:spMkLst>
            <pc:docMk/>
            <pc:sldMk cId="784664151" sldId="469"/>
            <ac:spMk id="8" creationId="{236A7AD3-D2BE-B7AB-90C1-C1F90892A9BF}"/>
          </ac:spMkLst>
        </pc:spChg>
        <pc:spChg chg="add mod">
          <ac:chgData name="eli@carbongap.org" userId="S::urn:spo:guest#eli@carbongap.org::" providerId="AD" clId="Web-{AE129738-821C-1746-A850-A69A81840567}" dt="2023-06-08T07:48:07.505" v="677" actId="1076"/>
          <ac:spMkLst>
            <pc:docMk/>
            <pc:sldMk cId="784664151" sldId="469"/>
            <ac:spMk id="9" creationId="{8DB23091-F5C3-7169-3776-31798C1ED482}"/>
          </ac:spMkLst>
        </pc:spChg>
        <pc:spChg chg="add del mod">
          <ac:chgData name="eli@carbongap.org" userId="S::urn:spo:guest#eli@carbongap.org::" providerId="AD" clId="Web-{AE129738-821C-1746-A850-A69A81840567}" dt="2023-06-08T07:52:24.976" v="728"/>
          <ac:spMkLst>
            <pc:docMk/>
            <pc:sldMk cId="784664151" sldId="469"/>
            <ac:spMk id="11" creationId="{5A58A3C5-376C-08F9-92C0-34DC27C115AC}"/>
          </ac:spMkLst>
        </pc:spChg>
        <pc:spChg chg="add mod">
          <ac:chgData name="eli@carbongap.org" userId="S::urn:spo:guest#eli@carbongap.org::" providerId="AD" clId="Web-{AE129738-821C-1746-A850-A69A81840567}" dt="2023-06-08T09:35:50.619" v="1594" actId="20577"/>
          <ac:spMkLst>
            <pc:docMk/>
            <pc:sldMk cId="784664151" sldId="469"/>
            <ac:spMk id="12" creationId="{1F6C6250-43A7-FEA9-EC1D-6418AB1A009D}"/>
          </ac:spMkLst>
        </pc:spChg>
        <pc:spChg chg="add mod">
          <ac:chgData name="eli@carbongap.org" userId="S::urn:spo:guest#eli@carbongap.org::" providerId="AD" clId="Web-{AE129738-821C-1746-A850-A69A81840567}" dt="2023-06-08T07:53:12.024" v="803" actId="1076"/>
          <ac:spMkLst>
            <pc:docMk/>
            <pc:sldMk cId="784664151" sldId="469"/>
            <ac:spMk id="13" creationId="{859CC14D-BB68-1C69-0F24-EE552C5A0A51}"/>
          </ac:spMkLst>
        </pc:spChg>
        <pc:spChg chg="add mod">
          <ac:chgData name="eli@carbongap.org" userId="S::urn:spo:guest#eli@carbongap.org::" providerId="AD" clId="Web-{AE129738-821C-1746-A850-A69A81840567}" dt="2023-06-08T09:35:25.041" v="1585" actId="1076"/>
          <ac:spMkLst>
            <pc:docMk/>
            <pc:sldMk cId="784664151" sldId="469"/>
            <ac:spMk id="14" creationId="{B343D41B-51D5-FC47-4388-46A9F66920B8}"/>
          </ac:spMkLst>
        </pc:spChg>
        <pc:spChg chg="add mod">
          <ac:chgData name="eli@carbongap.org" userId="S::urn:spo:guest#eli@carbongap.org::" providerId="AD" clId="Web-{AE129738-821C-1746-A850-A69A81840567}" dt="2023-06-08T09:35:34.369" v="1587" actId="14100"/>
          <ac:spMkLst>
            <pc:docMk/>
            <pc:sldMk cId="784664151" sldId="469"/>
            <ac:spMk id="16" creationId="{5999A801-C3C9-DE29-5F72-3A470015C027}"/>
          </ac:spMkLst>
        </pc:spChg>
        <pc:spChg chg="add mod">
          <ac:chgData name="eli@carbongap.org" userId="S::urn:spo:guest#eli@carbongap.org::" providerId="AD" clId="Web-{AE129738-821C-1746-A850-A69A81840567}" dt="2023-06-08T09:31:14.413" v="1464"/>
          <ac:spMkLst>
            <pc:docMk/>
            <pc:sldMk cId="784664151" sldId="469"/>
            <ac:spMk id="18" creationId="{41CFB7A1-C04A-2D43-FBC9-DC49E2ACE06A}"/>
          </ac:spMkLst>
        </pc:spChg>
        <pc:spChg chg="add mod">
          <ac:chgData name="eli@carbongap.org" userId="S::urn:spo:guest#eli@carbongap.org::" providerId="AD" clId="Web-{AE129738-821C-1746-A850-A69A81840567}" dt="2023-06-08T09:38:17.246" v="1637" actId="1076"/>
          <ac:spMkLst>
            <pc:docMk/>
            <pc:sldMk cId="784664151" sldId="469"/>
            <ac:spMk id="20" creationId="{6DC2B365-51DF-60AA-F6A8-FC1D3BF03D6E}"/>
          </ac:spMkLst>
        </pc:spChg>
        <pc:spChg chg="add del">
          <ac:chgData name="eli@carbongap.org" userId="S::urn:spo:guest#eli@carbongap.org::" providerId="AD" clId="Web-{AE129738-821C-1746-A850-A69A81840567}" dt="2023-06-08T09:37:11.542" v="1608"/>
          <ac:spMkLst>
            <pc:docMk/>
            <pc:sldMk cId="784664151" sldId="469"/>
            <ac:spMk id="21" creationId="{37E4B154-B187-4717-89DD-3F44D08DAED9}"/>
          </ac:spMkLst>
        </pc:spChg>
        <pc:spChg chg="add del">
          <ac:chgData name="eli@carbongap.org" userId="S::urn:spo:guest#eli@carbongap.org::" providerId="AD" clId="Web-{AE129738-821C-1746-A850-A69A81840567}" dt="2023-06-08T09:37:16.605" v="1610"/>
          <ac:spMkLst>
            <pc:docMk/>
            <pc:sldMk cId="784664151" sldId="469"/>
            <ac:spMk id="22" creationId="{85D7BA1F-AE5A-28ED-B7F4-ED49D207F008}"/>
          </ac:spMkLst>
        </pc:spChg>
        <pc:spChg chg="add mod">
          <ac:chgData name="eli@carbongap.org" userId="S::urn:spo:guest#eli@carbongap.org::" providerId="AD" clId="Web-{AE129738-821C-1746-A850-A69A81840567}" dt="2023-06-08T09:37:40.589" v="1618" actId="1076"/>
          <ac:spMkLst>
            <pc:docMk/>
            <pc:sldMk cId="784664151" sldId="469"/>
            <ac:spMk id="23" creationId="{7ED134BD-99A7-44F1-1E79-AB76ECD558F4}"/>
          </ac:spMkLst>
        </pc:spChg>
        <pc:picChg chg="add mod">
          <ac:chgData name="eli@carbongap.org" userId="S::urn:spo:guest#eli@carbongap.org::" providerId="AD" clId="Web-{AE129738-821C-1746-A850-A69A81840567}" dt="2023-06-08T08:03:45.343" v="1294" actId="1076"/>
          <ac:picMkLst>
            <pc:docMk/>
            <pc:sldMk cId="784664151" sldId="469"/>
            <ac:picMk id="4" creationId="{2F6A154B-0BCD-1690-1EC5-D29DEE1BA690}"/>
          </ac:picMkLst>
        </pc:picChg>
        <pc:picChg chg="add mod">
          <ac:chgData name="eli@carbongap.org" userId="S::urn:spo:guest#eli@carbongap.org::" providerId="AD" clId="Web-{AE129738-821C-1746-A850-A69A81840567}" dt="2023-06-08T07:48:07.473" v="675" actId="1076"/>
          <ac:picMkLst>
            <pc:docMk/>
            <pc:sldMk cId="784664151" sldId="469"/>
            <ac:picMk id="10" creationId="{B0B8E4D7-FA57-0373-60BC-537A6442C466}"/>
          </ac:picMkLst>
        </pc:picChg>
        <pc:cxnChg chg="add del mod">
          <ac:chgData name="eli@carbongap.org" userId="S::urn:spo:guest#eli@carbongap.org::" providerId="AD" clId="Web-{AE129738-821C-1746-A850-A69A81840567}" dt="2023-06-08T09:30:30.100" v="1453"/>
          <ac:cxnSpMkLst>
            <pc:docMk/>
            <pc:sldMk cId="784664151" sldId="469"/>
            <ac:cxnSpMk id="11" creationId="{C88C4642-5EA8-5C6E-5319-FF47593E27B5}"/>
          </ac:cxnSpMkLst>
        </pc:cxnChg>
        <pc:cxnChg chg="add mod">
          <ac:chgData name="eli@carbongap.org" userId="S::urn:spo:guest#eli@carbongap.org::" providerId="AD" clId="Web-{AE129738-821C-1746-A850-A69A81840567}" dt="2023-06-08T07:53:12.039" v="805" actId="1076"/>
          <ac:cxnSpMkLst>
            <pc:docMk/>
            <pc:sldMk cId="784664151" sldId="469"/>
            <ac:cxnSpMk id="15" creationId="{9FD37A37-EDD4-50B3-1824-A5DEB783C6D0}"/>
          </ac:cxnSpMkLst>
        </pc:cxnChg>
        <pc:cxnChg chg="add del mod">
          <ac:chgData name="eli@carbongap.org" userId="S::urn:spo:guest#eli@carbongap.org::" providerId="AD" clId="Web-{AE129738-821C-1746-A850-A69A81840567}" dt="2023-06-08T09:29:56.943" v="1448"/>
          <ac:cxnSpMkLst>
            <pc:docMk/>
            <pc:sldMk cId="784664151" sldId="469"/>
            <ac:cxnSpMk id="17" creationId="{3A2E2B8C-19F4-51E3-BF71-6DBFD1F4D560}"/>
          </ac:cxnSpMkLst>
        </pc:cxnChg>
        <pc:cxnChg chg="add del mod">
          <ac:chgData name="eli@carbongap.org" userId="S::urn:spo:guest#eli@carbongap.org::" providerId="AD" clId="Web-{AE129738-821C-1746-A850-A69A81840567}" dt="2023-06-08T07:56:36.041" v="971"/>
          <ac:cxnSpMkLst>
            <pc:docMk/>
            <pc:sldMk cId="784664151" sldId="469"/>
            <ac:cxnSpMk id="18" creationId="{65486986-85A1-7772-8B42-822F26F7F13F}"/>
          </ac:cxnSpMkLst>
        </pc:cxnChg>
        <pc:cxnChg chg="add mod">
          <ac:chgData name="eli@carbongap.org" userId="S::urn:spo:guest#eli@carbongap.org::" providerId="AD" clId="Web-{AE129738-821C-1746-A850-A69A81840567}" dt="2023-06-08T07:53:12.070" v="807" actId="1076"/>
          <ac:cxnSpMkLst>
            <pc:docMk/>
            <pc:sldMk cId="784664151" sldId="469"/>
            <ac:cxnSpMk id="19" creationId="{729CD3C3-6D74-A0F5-70B7-C6AD3D3319EB}"/>
          </ac:cxnSpMkLst>
        </pc:cxnChg>
      </pc:sldChg>
      <pc:sldChg chg="modSp">
        <pc:chgData name="eli@carbongap.org" userId="S::urn:spo:guest#eli@carbongap.org::" providerId="AD" clId="Web-{AE129738-821C-1746-A850-A69A81840567}" dt="2023-06-08T09:51:27.676" v="1739" actId="20577"/>
        <pc:sldMkLst>
          <pc:docMk/>
          <pc:sldMk cId="574744484" sldId="472"/>
        </pc:sldMkLst>
        <pc:spChg chg="mod">
          <ac:chgData name="eli@carbongap.org" userId="S::urn:spo:guest#eli@carbongap.org::" providerId="AD" clId="Web-{AE129738-821C-1746-A850-A69A81840567}" dt="2023-06-08T09:50:06.582" v="1722" actId="1076"/>
          <ac:spMkLst>
            <pc:docMk/>
            <pc:sldMk cId="574744484" sldId="472"/>
            <ac:spMk id="3" creationId="{B2D39AB2-1BE1-4D3E-BFC5-CBA5161A4F8A}"/>
          </ac:spMkLst>
        </pc:spChg>
        <pc:spChg chg="mod">
          <ac:chgData name="eli@carbongap.org" userId="S::urn:spo:guest#eli@carbongap.org::" providerId="AD" clId="Web-{AE129738-821C-1746-A850-A69A81840567}" dt="2023-06-08T09:50:50.317" v="1729" actId="20577"/>
          <ac:spMkLst>
            <pc:docMk/>
            <pc:sldMk cId="574744484" sldId="472"/>
            <ac:spMk id="4" creationId="{72EE47D4-9C26-43C4-9AF0-97E9AB161BFA}"/>
          </ac:spMkLst>
        </pc:spChg>
        <pc:graphicFrameChg chg="modGraphic">
          <ac:chgData name="eli@carbongap.org" userId="S::urn:spo:guest#eli@carbongap.org::" providerId="AD" clId="Web-{AE129738-821C-1746-A850-A69A81840567}" dt="2023-06-08T09:51:27.676" v="1739" actId="20577"/>
          <ac:graphicFrameMkLst>
            <pc:docMk/>
            <pc:sldMk cId="574744484" sldId="472"/>
            <ac:graphicFrameMk id="5" creationId="{D590FF5B-78DF-27C9-EBE3-8A753662DCE1}"/>
          </ac:graphicFrameMkLst>
        </pc:graphicFrameChg>
      </pc:sldChg>
      <pc:sldChg chg="add ord replId">
        <pc:chgData name="eli@carbongap.org" userId="S::urn:spo:guest#eli@carbongap.org::" providerId="AD" clId="Web-{AE129738-821C-1746-A850-A69A81840567}" dt="2023-06-08T07:27:33.101" v="317"/>
        <pc:sldMkLst>
          <pc:docMk/>
          <pc:sldMk cId="1729164497" sldId="473"/>
        </pc:sldMkLst>
      </pc:sldChg>
      <pc:sldChg chg="addSp delSp modSp add replId addAnim delAnim">
        <pc:chgData name="eli@carbongap.org" userId="S::urn:spo:guest#eli@carbongap.org::" providerId="AD" clId="Web-{AE129738-821C-1746-A850-A69A81840567}" dt="2023-06-08T09:42:23.952" v="1717"/>
        <pc:sldMkLst>
          <pc:docMk/>
          <pc:sldMk cId="1525943535" sldId="474"/>
        </pc:sldMkLst>
        <pc:spChg chg="mod">
          <ac:chgData name="eli@carbongap.org" userId="S::urn:spo:guest#eli@carbongap.org::" providerId="AD" clId="Web-{AE129738-821C-1746-A850-A69A81840567}" dt="2023-06-08T08:17:54.899" v="1419" actId="20577"/>
          <ac:spMkLst>
            <pc:docMk/>
            <pc:sldMk cId="1525943535" sldId="474"/>
            <ac:spMk id="3" creationId="{98BE73DD-F261-A57F-0F53-CB330BA80A21}"/>
          </ac:spMkLst>
        </pc:spChg>
        <pc:spChg chg="add">
          <ac:chgData name="eli@carbongap.org" userId="S::urn:spo:guest#eli@carbongap.org::" providerId="AD" clId="Web-{AE129738-821C-1746-A850-A69A81840567}" dt="2023-06-08T09:38:48.371" v="1652"/>
          <ac:spMkLst>
            <pc:docMk/>
            <pc:sldMk cId="1525943535" sldId="474"/>
            <ac:spMk id="6" creationId="{E1466B97-C95B-C189-665B-7536F662C3C7}"/>
          </ac:spMkLst>
        </pc:spChg>
        <pc:spChg chg="del mod">
          <ac:chgData name="eli@carbongap.org" userId="S::urn:spo:guest#eli@carbongap.org::" providerId="AD" clId="Web-{AE129738-821C-1746-A850-A69A81840567}" dt="2023-06-08T09:38:45.012" v="1651"/>
          <ac:spMkLst>
            <pc:docMk/>
            <pc:sldMk cId="1525943535" sldId="474"/>
            <ac:spMk id="7" creationId="{536A5C7C-342D-97E2-CA91-797239E6C317}"/>
          </ac:spMkLst>
        </pc:spChg>
        <pc:spChg chg="add">
          <ac:chgData name="eli@carbongap.org" userId="S::urn:spo:guest#eli@carbongap.org::" providerId="AD" clId="Web-{AE129738-821C-1746-A850-A69A81840567}" dt="2023-06-08T09:42:23.952" v="1717"/>
          <ac:spMkLst>
            <pc:docMk/>
            <pc:sldMk cId="1525943535" sldId="474"/>
            <ac:spMk id="9" creationId="{2785FF5B-B70D-69DD-E703-56D00F392D4A}"/>
          </ac:spMkLst>
        </pc:spChg>
        <pc:picChg chg="mod">
          <ac:chgData name="eli@carbongap.org" userId="S::urn:spo:guest#eli@carbongap.org::" providerId="AD" clId="Web-{AE129738-821C-1746-A850-A69A81840567}" dt="2023-06-08T07:42:10.532" v="439" actId="1076"/>
          <ac:picMkLst>
            <pc:docMk/>
            <pc:sldMk cId="1525943535" sldId="474"/>
            <ac:picMk id="5" creationId="{C765B03C-2950-814A-EBAE-43696E195CF5}"/>
          </ac:picMkLst>
        </pc:picChg>
        <pc:picChg chg="del">
          <ac:chgData name="eli@carbongap.org" userId="S::urn:spo:guest#eli@carbongap.org::" providerId="AD" clId="Web-{AE129738-821C-1746-A850-A69A81840567}" dt="2023-06-08T07:41:15.859" v="426"/>
          <ac:picMkLst>
            <pc:docMk/>
            <pc:sldMk cId="1525943535" sldId="474"/>
            <ac:picMk id="6" creationId="{A69D4B21-8F21-51A1-66DB-4FE169245AC5}"/>
          </ac:picMkLst>
        </pc:picChg>
      </pc:sldChg>
      <pc:sldChg chg="add del">
        <pc:chgData name="eli@carbongap.org" userId="S::urn:spo:guest#eli@carbongap.org::" providerId="AD" clId="Web-{AE129738-821C-1746-A850-A69A81840567}" dt="2023-06-08T07:34:40.246" v="331"/>
        <pc:sldMkLst>
          <pc:docMk/>
          <pc:sldMk cId="4153538248" sldId="474"/>
        </pc:sldMkLst>
      </pc:sldChg>
      <pc:sldChg chg="addSp delSp modSp add mod replId modShow">
        <pc:chgData name="eli@carbongap.org" userId="S::urn:spo:guest#eli@carbongap.org::" providerId="AD" clId="Web-{AE129738-821C-1746-A850-A69A81840567}" dt="2023-06-08T07:58:09.480" v="1055"/>
        <pc:sldMkLst>
          <pc:docMk/>
          <pc:sldMk cId="122634790" sldId="475"/>
        </pc:sldMkLst>
        <pc:spChg chg="del">
          <ac:chgData name="eli@carbongap.org" userId="S::urn:spo:guest#eli@carbongap.org::" providerId="AD" clId="Web-{AE129738-821C-1746-A850-A69A81840567}" dt="2023-06-08T07:58:06.527" v="1054"/>
          <ac:spMkLst>
            <pc:docMk/>
            <pc:sldMk cId="122634790" sldId="475"/>
            <ac:spMk id="22" creationId="{F728E42A-FB46-ABD8-9211-8C02102EA2BC}"/>
          </ac:spMkLst>
        </pc:spChg>
        <pc:spChg chg="add del mod">
          <ac:chgData name="eli@carbongap.org" userId="S::urn:spo:guest#eli@carbongap.org::" providerId="AD" clId="Web-{AE129738-821C-1746-A850-A69A81840567}" dt="2023-06-08T07:58:09.480" v="1055"/>
          <ac:spMkLst>
            <pc:docMk/>
            <pc:sldMk cId="122634790" sldId="475"/>
            <ac:spMk id="24" creationId="{38F05168-3233-CCF2-E51E-2933F948A5E7}"/>
          </ac:spMkLst>
        </pc:spChg>
        <pc:picChg chg="del">
          <ac:chgData name="eli@carbongap.org" userId="S::urn:spo:guest#eli@carbongap.org::" providerId="AD" clId="Web-{AE129738-821C-1746-A850-A69A81840567}" dt="2023-06-08T07:57:48.933" v="1050"/>
          <ac:picMkLst>
            <pc:docMk/>
            <pc:sldMk cId="122634790" sldId="475"/>
            <ac:picMk id="6" creationId="{00000000-0000-0000-0000-000000000000}"/>
          </ac:picMkLst>
        </pc:picChg>
      </pc:sldChg>
      <pc:sldChg chg="addSp delSp modSp add mod replId modShow">
        <pc:chgData name="eli@carbongap.org" userId="S::urn:spo:guest#eli@carbongap.org::" providerId="AD" clId="Web-{AE129738-821C-1746-A850-A69A81840567}" dt="2023-06-08T07:58:12.011" v="1056"/>
        <pc:sldMkLst>
          <pc:docMk/>
          <pc:sldMk cId="2011903453" sldId="476"/>
        </pc:sldMkLst>
        <pc:spChg chg="add del mod">
          <ac:chgData name="eli@carbongap.org" userId="S::urn:spo:guest#eli@carbongap.org::" providerId="AD" clId="Web-{AE129738-821C-1746-A850-A69A81840567}" dt="2023-06-08T07:58:12.011" v="1056"/>
          <ac:spMkLst>
            <pc:docMk/>
            <pc:sldMk cId="2011903453" sldId="476"/>
            <ac:spMk id="3" creationId="{87F0B626-94D6-09DF-4F3E-C15532AB8595}"/>
          </ac:spMkLst>
        </pc:spChg>
        <pc:spChg chg="del mod">
          <ac:chgData name="eli@carbongap.org" userId="S::urn:spo:guest#eli@carbongap.org::" providerId="AD" clId="Web-{AE129738-821C-1746-A850-A69A81840567}" dt="2023-06-08T07:58:01.839" v="1053"/>
          <ac:spMkLst>
            <pc:docMk/>
            <pc:sldMk cId="2011903453" sldId="476"/>
            <ac:spMk id="7" creationId="{AAD99C32-DE7F-7A04-CE83-88903F3C787C}"/>
          </ac:spMkLst>
        </pc:spChg>
        <pc:picChg chg="del">
          <ac:chgData name="eli@carbongap.org" userId="S::urn:spo:guest#eli@carbongap.org::" providerId="AD" clId="Web-{AE129738-821C-1746-A850-A69A81840567}" dt="2023-06-08T07:57:46.011" v="1049"/>
          <ac:picMkLst>
            <pc:docMk/>
            <pc:sldMk cId="2011903453" sldId="476"/>
            <ac:picMk id="6" creationId="{00000000-0000-0000-0000-000000000000}"/>
          </ac:picMkLst>
        </pc:picChg>
      </pc:sldChg>
      <pc:sldChg chg="addSp delSp modSp add replId">
        <pc:chgData name="eli@carbongap.org" userId="S::urn:spo:guest#eli@carbongap.org::" providerId="AD" clId="Web-{AE129738-821C-1746-A850-A69A81840567}" dt="2023-06-08T09:41:16.732" v="1693" actId="1076"/>
        <pc:sldMkLst>
          <pc:docMk/>
          <pc:sldMk cId="2994683292" sldId="477"/>
        </pc:sldMkLst>
        <pc:spChg chg="add del mod">
          <ac:chgData name="eli@carbongap.org" userId="S::urn:spo:guest#eli@carbongap.org::" providerId="AD" clId="Web-{AE129738-821C-1746-A850-A69A81840567}" dt="2023-06-08T09:40:16.716" v="1658"/>
          <ac:spMkLst>
            <pc:docMk/>
            <pc:sldMk cId="2994683292" sldId="477"/>
            <ac:spMk id="5" creationId="{1ADA5F76-1E90-A695-B488-83206986C0B2}"/>
          </ac:spMkLst>
        </pc:spChg>
        <pc:spChg chg="add mod">
          <ac:chgData name="eli@carbongap.org" userId="S::urn:spo:guest#eli@carbongap.org::" providerId="AD" clId="Web-{AE129738-821C-1746-A850-A69A81840567}" dt="2023-06-08T09:41:16.732" v="1693" actId="1076"/>
          <ac:spMkLst>
            <pc:docMk/>
            <pc:sldMk cId="2994683292" sldId="477"/>
            <ac:spMk id="6" creationId="{C598C1BD-4024-8FFB-4C0A-890205317068}"/>
          </ac:spMkLst>
        </pc:spChg>
        <pc:picChg chg="mod ord">
          <ac:chgData name="eli@carbongap.org" userId="S::urn:spo:guest#eli@carbongap.org::" providerId="AD" clId="Web-{AE129738-821C-1746-A850-A69A81840567}" dt="2023-06-08T09:40:46.701" v="1666" actId="1076"/>
          <ac:picMkLst>
            <pc:docMk/>
            <pc:sldMk cId="2994683292" sldId="477"/>
            <ac:picMk id="2" creationId="{A85B72A4-597F-F5FA-F187-BF96D9BAA0C8}"/>
          </ac:picMkLst>
        </pc:picChg>
        <pc:picChg chg="del">
          <ac:chgData name="eli@carbongap.org" userId="S::urn:spo:guest#eli@carbongap.org::" providerId="AD" clId="Web-{AE129738-821C-1746-A850-A69A81840567}" dt="2023-06-08T09:40:12.231" v="1655"/>
          <ac:picMkLst>
            <pc:docMk/>
            <pc:sldMk cId="2994683292" sldId="477"/>
            <ac:picMk id="4" creationId="{12F5C117-0B6B-E566-4A8D-CBFFDD1F127B}"/>
          </ac:picMkLst>
        </pc:picChg>
      </pc:sldChg>
      <pc:sldChg chg="addSp delSp modSp add replId">
        <pc:chgData name="eli@carbongap.org" userId="S::urn:spo:guest#eli@carbongap.org::" providerId="AD" clId="Web-{AE129738-821C-1746-A850-A69A81840567}" dt="2023-06-08T09:55:17.304" v="1806"/>
        <pc:sldMkLst>
          <pc:docMk/>
          <pc:sldMk cId="3947821589" sldId="478"/>
        </pc:sldMkLst>
        <pc:spChg chg="add del mod">
          <ac:chgData name="eli@carbongap.org" userId="S::urn:spo:guest#eli@carbongap.org::" providerId="AD" clId="Web-{AE129738-821C-1746-A850-A69A81840567}" dt="2023-06-08T09:55:17.304" v="1806"/>
          <ac:spMkLst>
            <pc:docMk/>
            <pc:sldMk cId="3947821589" sldId="478"/>
            <ac:spMk id="2" creationId="{180E89CA-A04F-D35E-67C2-2FCA43BD35F3}"/>
          </ac:spMkLst>
        </pc:spChg>
        <pc:spChg chg="mod">
          <ac:chgData name="eli@carbongap.org" userId="S::urn:spo:guest#eli@carbongap.org::" providerId="AD" clId="Web-{AE129738-821C-1746-A850-A69A81840567}" dt="2023-06-08T09:54:31.553" v="1792" actId="20577"/>
          <ac:spMkLst>
            <pc:docMk/>
            <pc:sldMk cId="3947821589" sldId="478"/>
            <ac:spMk id="13" creationId="{23AA66A7-E8D4-4D19-A21F-FE44C8C8ADFC}"/>
          </ac:spMkLst>
        </pc:spChg>
      </pc:sldChg>
      <pc:sldChg chg="modSp add del replId">
        <pc:chgData name="eli@carbongap.org" userId="S::urn:spo:guest#eli@carbongap.org::" providerId="AD" clId="Web-{AE129738-821C-1746-A850-A69A81840567}" dt="2023-06-08T09:55:48.210" v="1815"/>
        <pc:sldMkLst>
          <pc:docMk/>
          <pc:sldMk cId="458140035" sldId="479"/>
        </pc:sldMkLst>
        <pc:spChg chg="mod">
          <ac:chgData name="eli@carbongap.org" userId="S::urn:spo:guest#eli@carbongap.org::" providerId="AD" clId="Web-{AE129738-821C-1746-A850-A69A81840567}" dt="2023-06-08T09:54:39.819" v="1798" actId="20577"/>
          <ac:spMkLst>
            <pc:docMk/>
            <pc:sldMk cId="458140035" sldId="479"/>
            <ac:spMk id="13" creationId="{23AA66A7-E8D4-4D19-A21F-FE44C8C8ADFC}"/>
          </ac:spMkLst>
        </pc:spChg>
      </pc:sldChg>
      <pc:sldChg chg="modSp add del replId">
        <pc:chgData name="eli@carbongap.org" userId="S::urn:spo:guest#eli@carbongap.org::" providerId="AD" clId="Web-{AE129738-821C-1746-A850-A69A81840567}" dt="2023-06-08T09:55:57.461" v="1817"/>
        <pc:sldMkLst>
          <pc:docMk/>
          <pc:sldMk cId="2255471973" sldId="480"/>
        </pc:sldMkLst>
        <pc:spChg chg="mod">
          <ac:chgData name="eli@carbongap.org" userId="S::urn:spo:guest#eli@carbongap.org::" providerId="AD" clId="Web-{AE129738-821C-1746-A850-A69A81840567}" dt="2023-06-08T09:54:54.272" v="1802" actId="20577"/>
          <ac:spMkLst>
            <pc:docMk/>
            <pc:sldMk cId="2255471973" sldId="480"/>
            <ac:spMk id="13" creationId="{23AA66A7-E8D4-4D19-A21F-FE44C8C8ADFC}"/>
          </ac:spMkLst>
        </pc:spChg>
      </pc:sldChg>
      <pc:sldChg chg="modSp add del replId">
        <pc:chgData name="eli@carbongap.org" userId="S::urn:spo:guest#eli@carbongap.org::" providerId="AD" clId="Web-{AE129738-821C-1746-A850-A69A81840567}" dt="2023-06-08T09:56:08.617" v="1821"/>
        <pc:sldMkLst>
          <pc:docMk/>
          <pc:sldMk cId="2407883474" sldId="481"/>
        </pc:sldMkLst>
        <pc:spChg chg="mod">
          <ac:chgData name="eli@carbongap.org" userId="S::urn:spo:guest#eli@carbongap.org::" providerId="AD" clId="Web-{AE129738-821C-1746-A850-A69A81840567}" dt="2023-06-08T09:55:25.570" v="1810" actId="20577"/>
          <ac:spMkLst>
            <pc:docMk/>
            <pc:sldMk cId="2407883474" sldId="481"/>
            <ac:spMk id="13" creationId="{23AA66A7-E8D4-4D19-A21F-FE44C8C8ADFC}"/>
          </ac:spMkLst>
        </pc:spChg>
      </pc:sldChg>
      <pc:sldChg chg="modSp add replId">
        <pc:chgData name="eli@carbongap.org" userId="S::urn:spo:guest#eli@carbongap.org::" providerId="AD" clId="Web-{AE129738-821C-1746-A850-A69A81840567}" dt="2023-06-08T09:55:45.242" v="1814" actId="20577"/>
        <pc:sldMkLst>
          <pc:docMk/>
          <pc:sldMk cId="3423896132" sldId="482"/>
        </pc:sldMkLst>
        <pc:spChg chg="mod">
          <ac:chgData name="eli@carbongap.org" userId="S::urn:spo:guest#eli@carbongap.org::" providerId="AD" clId="Web-{AE129738-821C-1746-A850-A69A81840567}" dt="2023-06-08T09:55:45.242" v="1814" actId="20577"/>
          <ac:spMkLst>
            <pc:docMk/>
            <pc:sldMk cId="3423896132" sldId="482"/>
            <ac:spMk id="13" creationId="{23AA66A7-E8D4-4D19-A21F-FE44C8C8ADFC}"/>
          </ac:spMkLst>
        </pc:spChg>
      </pc:sldChg>
      <pc:sldChg chg="modSp add replId">
        <pc:chgData name="eli@carbongap.org" userId="S::urn:spo:guest#eli@carbongap.org::" providerId="AD" clId="Web-{AE129738-821C-1746-A850-A69A81840567}" dt="2023-06-08T09:56:04.382" v="1819" actId="20577"/>
        <pc:sldMkLst>
          <pc:docMk/>
          <pc:sldMk cId="1323899127" sldId="483"/>
        </pc:sldMkLst>
        <pc:spChg chg="mod">
          <ac:chgData name="eli@carbongap.org" userId="S::urn:spo:guest#eli@carbongap.org::" providerId="AD" clId="Web-{AE129738-821C-1746-A850-A69A81840567}" dt="2023-06-08T09:56:04.382" v="1819" actId="20577"/>
          <ac:spMkLst>
            <pc:docMk/>
            <pc:sldMk cId="1323899127" sldId="483"/>
            <ac:spMk id="13" creationId="{23AA66A7-E8D4-4D19-A21F-FE44C8C8ADFC}"/>
          </ac:spMkLst>
        </pc:spChg>
      </pc:sldChg>
      <pc:sldChg chg="modSp add replId">
        <pc:chgData name="eli@carbongap.org" userId="S::urn:spo:guest#eli@carbongap.org::" providerId="AD" clId="Web-{AE129738-821C-1746-A850-A69A81840567}" dt="2023-06-08T09:56:14.054" v="1822" actId="20577"/>
        <pc:sldMkLst>
          <pc:docMk/>
          <pc:sldMk cId="1653311676" sldId="484"/>
        </pc:sldMkLst>
        <pc:spChg chg="mod">
          <ac:chgData name="eli@carbongap.org" userId="S::urn:spo:guest#eli@carbongap.org::" providerId="AD" clId="Web-{AE129738-821C-1746-A850-A69A81840567}" dt="2023-06-08T09:56:14.054" v="1822" actId="20577"/>
          <ac:spMkLst>
            <pc:docMk/>
            <pc:sldMk cId="1653311676" sldId="484"/>
            <ac:spMk id="13" creationId="{23AA66A7-E8D4-4D19-A21F-FE44C8C8ADFC}"/>
          </ac:spMkLst>
        </pc:spChg>
      </pc:sldChg>
      <pc:sldMasterChg chg="add addSldLayout">
        <pc:chgData name="eli@carbongap.org" userId="S::urn:spo:guest#eli@carbongap.org::" providerId="AD" clId="Web-{AE129738-821C-1746-A850-A69A81840567}" dt="2023-06-08T07:34:37.261" v="330"/>
        <pc:sldMasterMkLst>
          <pc:docMk/>
          <pc:sldMasterMk cId="1335357019" sldId="2147483672"/>
        </pc:sldMasterMkLst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332821231" sldId="2147483673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556721861" sldId="2147483674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3379811598" sldId="2147483675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814568120" sldId="2147483676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2655404172" sldId="2147483677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370027881" sldId="2147483678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2405664067" sldId="2147483679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63502542" sldId="2147483680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3718281855" sldId="2147483681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2672867019" sldId="2147483682"/>
          </pc:sldLayoutMkLst>
        </pc:sldLayoutChg>
        <pc:sldLayoutChg chg="ad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1335357019" sldId="2147483672"/>
            <pc:sldLayoutMk cId="1261586681" sldId="2147483683"/>
          </pc:sldLayoutMkLst>
        </pc:sldLayoutChg>
      </pc:sldMasterChg>
      <pc:sldMasterChg chg="modSldLayout">
        <pc:chgData name="eli@carbongap.org" userId="S::urn:spo:guest#eli@carbongap.org::" providerId="AD" clId="Web-{AE129738-821C-1746-A850-A69A81840567}" dt="2023-06-08T07:34:37.261" v="330"/>
        <pc:sldMasterMkLst>
          <pc:docMk/>
          <pc:sldMasterMk cId="4274930610" sldId="2147483732"/>
        </pc:sldMasterMkLst>
        <pc:sldLayoutChg chg="replI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4274930610" sldId="2147483732"/>
            <pc:sldLayoutMk cId="3794672298" sldId="2147483741"/>
          </pc:sldLayoutMkLst>
        </pc:sldLayoutChg>
        <pc:sldLayoutChg chg="replI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4274930610" sldId="2147483732"/>
            <pc:sldLayoutMk cId="2518272319" sldId="2147483742"/>
          </pc:sldLayoutMkLst>
        </pc:sldLayoutChg>
        <pc:sldLayoutChg chg="replI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4274930610" sldId="2147483732"/>
            <pc:sldLayoutMk cId="1192508855" sldId="2147483743"/>
          </pc:sldLayoutMkLst>
        </pc:sldLayoutChg>
        <pc:sldLayoutChg chg="replI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4274930610" sldId="2147483732"/>
            <pc:sldLayoutMk cId="2143723732" sldId="2147483744"/>
          </pc:sldLayoutMkLst>
        </pc:sldLayoutChg>
        <pc:sldLayoutChg chg="replI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4274930610" sldId="2147483732"/>
            <pc:sldLayoutMk cId="1875554444" sldId="2147483745"/>
          </pc:sldLayoutMkLst>
        </pc:sldLayoutChg>
        <pc:sldLayoutChg chg="replId">
          <pc:chgData name="eli@carbongap.org" userId="S::urn:spo:guest#eli@carbongap.org::" providerId="AD" clId="Web-{AE129738-821C-1746-A850-A69A81840567}" dt="2023-06-08T07:34:37.261" v="330"/>
          <pc:sldLayoutMkLst>
            <pc:docMk/>
            <pc:sldMasterMk cId="4274930610" sldId="2147483732"/>
            <pc:sldLayoutMk cId="2245062524" sldId="2147483746"/>
          </pc:sldLayoutMkLst>
        </pc:sldLayoutChg>
      </pc:sldMasterChg>
    </pc:docChg>
  </pc:docChgLst>
  <pc:docChgLst>
    <pc:chgData name="Mark Preston Aragonès" userId="e2d9ad4c-ff72-46e4-84fd-5cf2c670c516" providerId="ADAL" clId="{1BA54521-8D41-435C-AD27-5033055BF43D}"/>
    <pc:docChg chg="undo custSel addSld delSld modSld sldOrd">
      <pc:chgData name="Mark Preston Aragonès" userId="e2d9ad4c-ff72-46e4-84fd-5cf2c670c516" providerId="ADAL" clId="{1BA54521-8D41-435C-AD27-5033055BF43D}" dt="2023-06-08T10:15:23.918" v="1777" actId="47"/>
      <pc:docMkLst>
        <pc:docMk/>
      </pc:docMkLst>
      <pc:sldChg chg="addSp delSp modSp del mod">
        <pc:chgData name="Mark Preston Aragonès" userId="e2d9ad4c-ff72-46e4-84fd-5cf2c670c516" providerId="ADAL" clId="{1BA54521-8D41-435C-AD27-5033055BF43D}" dt="2023-06-07T16:32:34.638" v="78" actId="47"/>
        <pc:sldMkLst>
          <pc:docMk/>
          <pc:sldMk cId="2996232944" sldId="257"/>
        </pc:sldMkLst>
        <pc:spChg chg="mod">
          <ac:chgData name="Mark Preston Aragonès" userId="e2d9ad4c-ff72-46e4-84fd-5cf2c670c516" providerId="ADAL" clId="{1BA54521-8D41-435C-AD27-5033055BF43D}" dt="2023-06-07T16:23:05.940" v="56" actId="313"/>
          <ac:spMkLst>
            <pc:docMk/>
            <pc:sldMk cId="2996232944" sldId="257"/>
            <ac:spMk id="3" creationId="{B2D39AB2-1BE1-4D3E-BFC5-CBA5161A4F8A}"/>
          </ac:spMkLst>
        </pc:spChg>
        <pc:picChg chg="add mod">
          <ac:chgData name="Mark Preston Aragonès" userId="e2d9ad4c-ff72-46e4-84fd-5cf2c670c516" providerId="ADAL" clId="{1BA54521-8D41-435C-AD27-5033055BF43D}" dt="2023-06-07T16:29:30.947" v="60" actId="1076"/>
          <ac:picMkLst>
            <pc:docMk/>
            <pc:sldMk cId="2996232944" sldId="257"/>
            <ac:picMk id="5" creationId="{267B88D1-907B-BBFA-D542-16601720FC8A}"/>
          </ac:picMkLst>
        </pc:picChg>
        <pc:picChg chg="del">
          <ac:chgData name="Mark Preston Aragonès" userId="e2d9ad4c-ff72-46e4-84fd-5cf2c670c516" providerId="ADAL" clId="{1BA54521-8D41-435C-AD27-5033055BF43D}" dt="2023-06-07T16:29:26.529" v="59" actId="478"/>
          <ac:picMkLst>
            <pc:docMk/>
            <pc:sldMk cId="2996232944" sldId="257"/>
            <ac:picMk id="11" creationId="{2FE41C9B-39DE-6015-FCE0-E969CAF00CDE}"/>
          </ac:picMkLst>
        </pc:picChg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583905944" sldId="258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412432484" sldId="259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887683574" sldId="279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421672905" sldId="280"/>
        </pc:sldMkLst>
      </pc:sldChg>
      <pc:sldChg chg="addSp delSp modSp del mod ord delAnim modAnim modShow">
        <pc:chgData name="Mark Preston Aragonès" userId="e2d9ad4c-ff72-46e4-84fd-5cf2c670c516" providerId="ADAL" clId="{1BA54521-8D41-435C-AD27-5033055BF43D}" dt="2023-06-07T17:15:27.038" v="609" actId="47"/>
        <pc:sldMkLst>
          <pc:docMk/>
          <pc:sldMk cId="105383091" sldId="281"/>
        </pc:sldMkLst>
        <pc:spChg chg="mod">
          <ac:chgData name="Mark Preston Aragonès" userId="e2d9ad4c-ff72-46e4-84fd-5cf2c670c516" providerId="ADAL" clId="{1BA54521-8D41-435C-AD27-5033055BF43D}" dt="2023-06-07T16:30:17.440" v="70" actId="14100"/>
          <ac:spMkLst>
            <pc:docMk/>
            <pc:sldMk cId="105383091" sldId="281"/>
            <ac:spMk id="6" creationId="{5732E933-CF45-4E39-B633-DE3A0FFCD145}"/>
          </ac:spMkLst>
        </pc:spChg>
        <pc:spChg chg="del mod">
          <ac:chgData name="Mark Preston Aragonès" userId="e2d9ad4c-ff72-46e4-84fd-5cf2c670c516" providerId="ADAL" clId="{1BA54521-8D41-435C-AD27-5033055BF43D}" dt="2023-06-07T16:30:29.391" v="75"/>
          <ac:spMkLst>
            <pc:docMk/>
            <pc:sldMk cId="105383091" sldId="281"/>
            <ac:spMk id="7" creationId="{69CA6C0F-10D5-4AF5-9C4F-C384E665FD38}"/>
          </ac:spMkLst>
        </pc:spChg>
        <pc:spChg chg="mod">
          <ac:chgData name="Mark Preston Aragonès" userId="e2d9ad4c-ff72-46e4-84fd-5cf2c670c516" providerId="ADAL" clId="{1BA54521-8D41-435C-AD27-5033055BF43D}" dt="2023-06-07T16:34:43.490" v="135" actId="20577"/>
          <ac:spMkLst>
            <pc:docMk/>
            <pc:sldMk cId="105383091" sldId="281"/>
            <ac:spMk id="9" creationId="{20C639EC-3AB6-4B9E-B70F-249C6846697B}"/>
          </ac:spMkLst>
        </pc:spChg>
        <pc:spChg chg="add del mod">
          <ac:chgData name="Mark Preston Aragonès" userId="e2d9ad4c-ff72-46e4-84fd-5cf2c670c516" providerId="ADAL" clId="{1BA54521-8D41-435C-AD27-5033055BF43D}" dt="2023-06-07T16:30:33.790" v="76" actId="478"/>
          <ac:spMkLst>
            <pc:docMk/>
            <pc:sldMk cId="105383091" sldId="281"/>
            <ac:spMk id="11" creationId="{350E8660-D0AE-FE40-D62A-857ADBA9282B}"/>
          </ac:spMkLst>
        </pc:spChg>
        <pc:picChg chg="add del mod">
          <ac:chgData name="Mark Preston Aragonès" userId="e2d9ad4c-ff72-46e4-84fd-5cf2c670c516" providerId="ADAL" clId="{1BA54521-8D41-435C-AD27-5033055BF43D}" dt="2023-06-07T17:15:21.077" v="608" actId="21"/>
          <ac:picMkLst>
            <pc:docMk/>
            <pc:sldMk cId="105383091" sldId="281"/>
            <ac:picMk id="2" creationId="{8FCE6F29-65DB-23AA-903C-725CC48CB32E}"/>
          </ac:picMkLst>
        </pc:picChg>
        <pc:picChg chg="del">
          <ac:chgData name="Mark Preston Aragonès" userId="e2d9ad4c-ff72-46e4-84fd-5cf2c670c516" providerId="ADAL" clId="{1BA54521-8D41-435C-AD27-5033055BF43D}" dt="2023-06-07T16:29:52.090" v="63" actId="478"/>
          <ac:picMkLst>
            <pc:docMk/>
            <pc:sldMk cId="105383091" sldId="281"/>
            <ac:picMk id="3" creationId="{C9EC44C8-CB66-6836-255B-51B3938B87B7}"/>
          </ac:picMkLst>
        </pc:picChg>
        <pc:picChg chg="del">
          <ac:chgData name="Mark Preston Aragonès" userId="e2d9ad4c-ff72-46e4-84fd-5cf2c670c516" providerId="ADAL" clId="{1BA54521-8D41-435C-AD27-5033055BF43D}" dt="2023-06-07T16:30:29.380" v="73" actId="478"/>
          <ac:picMkLst>
            <pc:docMk/>
            <pc:sldMk cId="105383091" sldId="281"/>
            <ac:picMk id="4" creationId="{586289B6-7026-4F7B-8037-83891D69DDE2}"/>
          </ac:picMkLst>
        </pc:picChg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741342857" sldId="282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627877479" sldId="283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2778357616" sldId="285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403513315" sldId="287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2348591054" sldId="288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466924418" sldId="297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25944623" sldId="298"/>
        </pc:sldMkLst>
      </pc:sldChg>
      <pc:sldChg chg="del ord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917022426" sldId="301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120389061" sldId="302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293053167" sldId="303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22078519" sldId="304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581959990" sldId="305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254722638" sldId="306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300888506" sldId="308"/>
        </pc:sldMkLst>
      </pc:sldChg>
      <pc:sldChg chg="modSp">
        <pc:chgData name="Mark Preston Aragonès" userId="e2d9ad4c-ff72-46e4-84fd-5cf2c670c516" providerId="ADAL" clId="{1BA54521-8D41-435C-AD27-5033055BF43D}" dt="2023-06-07T15:56:31.690" v="18" actId="207"/>
        <pc:sldMkLst>
          <pc:docMk/>
          <pc:sldMk cId="1522455402" sldId="310"/>
        </pc:sldMkLst>
        <pc:spChg chg="mod">
          <ac:chgData name="Mark Preston Aragonès" userId="e2d9ad4c-ff72-46e4-84fd-5cf2c670c516" providerId="ADAL" clId="{1BA54521-8D41-435C-AD27-5033055BF43D}" dt="2023-06-07T15:56:31.690" v="18" actId="207"/>
          <ac:spMkLst>
            <pc:docMk/>
            <pc:sldMk cId="1522455402" sldId="310"/>
            <ac:spMk id="13" creationId="{23AA66A7-E8D4-4D19-A21F-FE44C8C8ADFC}"/>
          </ac:spMkLst>
        </pc:spChg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679186927" sldId="311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366107762" sldId="312"/>
        </pc:sldMkLst>
      </pc:sldChg>
      <pc:sldChg chg="delSp modSp mod ord">
        <pc:chgData name="Mark Preston Aragonès" userId="e2d9ad4c-ff72-46e4-84fd-5cf2c670c516" providerId="ADAL" clId="{1BA54521-8D41-435C-AD27-5033055BF43D}" dt="2023-06-08T06:39:16.735" v="1619" actId="478"/>
        <pc:sldMkLst>
          <pc:docMk/>
          <pc:sldMk cId="779533866" sldId="313"/>
        </pc:sldMkLst>
        <pc:spChg chg="mod">
          <ac:chgData name="Mark Preston Aragonès" userId="e2d9ad4c-ff72-46e4-84fd-5cf2c670c516" providerId="ADAL" clId="{1BA54521-8D41-435C-AD27-5033055BF43D}" dt="2023-06-07T17:29:15.700" v="1142" actId="20577"/>
          <ac:spMkLst>
            <pc:docMk/>
            <pc:sldMk cId="779533866" sldId="313"/>
            <ac:spMk id="49" creationId="{00000000-0000-0000-0000-000000000000}"/>
          </ac:spMkLst>
        </pc:spChg>
        <pc:picChg chg="del">
          <ac:chgData name="Mark Preston Aragonès" userId="e2d9ad4c-ff72-46e4-84fd-5cf2c670c516" providerId="ADAL" clId="{1BA54521-8D41-435C-AD27-5033055BF43D}" dt="2023-06-08T06:39:16.735" v="1619" actId="478"/>
          <ac:picMkLst>
            <pc:docMk/>
            <pc:sldMk cId="779533866" sldId="313"/>
            <ac:picMk id="70" creationId="{00000000-0000-0000-0000-000000000000}"/>
          </ac:picMkLst>
        </pc:picChg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670105588" sldId="314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186290227" sldId="316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938299079" sldId="317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801058588" sldId="319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88571017" sldId="320"/>
        </pc:sldMkLst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111164569" sldId="322"/>
        </pc:sldMkLst>
      </pc:sldChg>
      <pc:sldChg chg="addSp delSp modSp mod">
        <pc:chgData name="Mark Preston Aragonès" userId="e2d9ad4c-ff72-46e4-84fd-5cf2c670c516" providerId="ADAL" clId="{1BA54521-8D41-435C-AD27-5033055BF43D}" dt="2023-06-08T10:14:47.545" v="1775" actId="20577"/>
        <pc:sldMkLst>
          <pc:docMk/>
          <pc:sldMk cId="2483532130" sldId="323"/>
        </pc:sldMkLst>
        <pc:spChg chg="mod">
          <ac:chgData name="Mark Preston Aragonès" userId="e2d9ad4c-ff72-46e4-84fd-5cf2c670c516" providerId="ADAL" clId="{1BA54521-8D41-435C-AD27-5033055BF43D}" dt="2023-06-07T17:32:50.344" v="1182" actId="20577"/>
          <ac:spMkLst>
            <pc:docMk/>
            <pc:sldMk cId="2483532130" sldId="323"/>
            <ac:spMk id="3" creationId="{B2D39AB2-1BE1-4D3E-BFC5-CBA5161A4F8A}"/>
          </ac:spMkLst>
        </pc:spChg>
        <pc:spChg chg="mod">
          <ac:chgData name="Mark Preston Aragonès" userId="e2d9ad4c-ff72-46e4-84fd-5cf2c670c516" providerId="ADAL" clId="{1BA54521-8D41-435C-AD27-5033055BF43D}" dt="2023-06-07T17:40:18.459" v="1594" actId="6549"/>
          <ac:spMkLst>
            <pc:docMk/>
            <pc:sldMk cId="2483532130" sldId="323"/>
            <ac:spMk id="4" creationId="{72EE47D4-9C26-43C4-9AF0-97E9AB161BFA}"/>
          </ac:spMkLst>
        </pc:spChg>
        <pc:spChg chg="del">
          <ac:chgData name="Mark Preston Aragonès" userId="e2d9ad4c-ff72-46e4-84fd-5cf2c670c516" providerId="ADAL" clId="{1BA54521-8D41-435C-AD27-5033055BF43D}" dt="2023-06-07T17:33:54.595" v="1196" actId="478"/>
          <ac:spMkLst>
            <pc:docMk/>
            <pc:sldMk cId="2483532130" sldId="323"/>
            <ac:spMk id="6" creationId="{00000000-0000-0000-0000-000000000000}"/>
          </ac:spMkLst>
        </pc:spChg>
        <pc:spChg chg="add mod">
          <ac:chgData name="Mark Preston Aragonès" userId="e2d9ad4c-ff72-46e4-84fd-5cf2c670c516" providerId="ADAL" clId="{1BA54521-8D41-435C-AD27-5033055BF43D}" dt="2023-06-08T10:14:47.545" v="1775" actId="20577"/>
          <ac:spMkLst>
            <pc:docMk/>
            <pc:sldMk cId="2483532130" sldId="323"/>
            <ac:spMk id="6" creationId="{A2659F38-F91E-3B84-0940-FEF0361FAE59}"/>
          </ac:spMkLst>
        </pc:spChg>
        <pc:spChg chg="add del mod">
          <ac:chgData name="Mark Preston Aragonès" userId="e2d9ad4c-ff72-46e4-84fd-5cf2c670c516" providerId="ADAL" clId="{1BA54521-8D41-435C-AD27-5033055BF43D}" dt="2023-06-07T17:33:40.954" v="1192" actId="478"/>
          <ac:spMkLst>
            <pc:docMk/>
            <pc:sldMk cId="2483532130" sldId="323"/>
            <ac:spMk id="11" creationId="{51790F93-E1D4-615A-BC0D-CE279A2A94FB}"/>
          </ac:spMkLst>
        </pc:spChg>
        <pc:spChg chg="add del mod">
          <ac:chgData name="Mark Preston Aragonès" userId="e2d9ad4c-ff72-46e4-84fd-5cf2c670c516" providerId="ADAL" clId="{1BA54521-8D41-435C-AD27-5033055BF43D}" dt="2023-06-07T17:33:46.269" v="1194" actId="478"/>
          <ac:spMkLst>
            <pc:docMk/>
            <pc:sldMk cId="2483532130" sldId="323"/>
            <ac:spMk id="13" creationId="{11C262F2-BE05-FD5A-7096-DB9E36FA2BC6}"/>
          </ac:spMkLst>
        </pc:spChg>
        <pc:spChg chg="del mod">
          <ac:chgData name="Mark Preston Aragonès" userId="e2d9ad4c-ff72-46e4-84fd-5cf2c670c516" providerId="ADAL" clId="{1BA54521-8D41-435C-AD27-5033055BF43D}" dt="2023-06-07T17:35:37.786" v="1288" actId="478"/>
          <ac:spMkLst>
            <pc:docMk/>
            <pc:sldMk cId="2483532130" sldId="323"/>
            <ac:spMk id="16" creationId="{39C9694A-B477-54DC-D86A-37F1BA3159F6}"/>
          </ac:spMkLst>
        </pc:spChg>
        <pc:graphicFrameChg chg="add mod modGraphic">
          <ac:chgData name="Mark Preston Aragonès" userId="e2d9ad4c-ff72-46e4-84fd-5cf2c670c516" providerId="ADAL" clId="{1BA54521-8D41-435C-AD27-5033055BF43D}" dt="2023-06-08T10:13:57.058" v="1755"/>
          <ac:graphicFrameMkLst>
            <pc:docMk/>
            <pc:sldMk cId="2483532130" sldId="323"/>
            <ac:graphicFrameMk id="5" creationId="{D590FF5B-78DF-27C9-EBE3-8A753662DCE1}"/>
          </ac:graphicFrameMkLst>
        </pc:graphicFrameChg>
        <pc:picChg chg="del">
          <ac:chgData name="Mark Preston Aragonès" userId="e2d9ad4c-ff72-46e4-84fd-5cf2c670c516" providerId="ADAL" clId="{1BA54521-8D41-435C-AD27-5033055BF43D}" dt="2023-06-08T06:39:20.886" v="1621" actId="478"/>
          <ac:picMkLst>
            <pc:docMk/>
            <pc:sldMk cId="2483532130" sldId="323"/>
            <ac:picMk id="2" creationId="{00000000-0000-0000-0000-000000000000}"/>
          </ac:picMkLst>
        </pc:picChg>
        <pc:picChg chg="del">
          <ac:chgData name="Mark Preston Aragonès" userId="e2d9ad4c-ff72-46e4-84fd-5cf2c670c516" providerId="ADAL" clId="{1BA54521-8D41-435C-AD27-5033055BF43D}" dt="2023-06-07T17:32:54.378" v="1184" actId="478"/>
          <ac:picMkLst>
            <pc:docMk/>
            <pc:sldMk cId="2483532130" sldId="323"/>
            <ac:picMk id="7" creationId="{244CD39D-7CAC-065F-E34B-6D4FA2FB196F}"/>
          </ac:picMkLst>
        </pc:picChg>
        <pc:picChg chg="add del">
          <ac:chgData name="Mark Preston Aragonès" userId="e2d9ad4c-ff72-46e4-84fd-5cf2c670c516" providerId="ADAL" clId="{1BA54521-8D41-435C-AD27-5033055BF43D}" dt="2023-06-07T17:33:44.404" v="1193" actId="478"/>
          <ac:picMkLst>
            <pc:docMk/>
            <pc:sldMk cId="2483532130" sldId="323"/>
            <ac:picMk id="9" creationId="{62419D0D-4A1A-4000-947F-D8013685812C}"/>
          </ac:picMkLst>
        </pc:picChg>
        <pc:picChg chg="del">
          <ac:chgData name="Mark Preston Aragonès" userId="e2d9ad4c-ff72-46e4-84fd-5cf2c670c516" providerId="ADAL" clId="{1BA54521-8D41-435C-AD27-5033055BF43D}" dt="2023-06-07T17:32:52.796" v="1183" actId="478"/>
          <ac:picMkLst>
            <pc:docMk/>
            <pc:sldMk cId="2483532130" sldId="323"/>
            <ac:picMk id="14" creationId="{E1A15200-C960-7439-E4BF-4405BFFEB8AD}"/>
          </ac:picMkLst>
        </pc:picChg>
      </pc:sldChg>
      <pc:sldChg chg="delSp modSp mod ord">
        <pc:chgData name="Mark Preston Aragonès" userId="e2d9ad4c-ff72-46e4-84fd-5cf2c670c516" providerId="ADAL" clId="{1BA54521-8D41-435C-AD27-5033055BF43D}" dt="2023-06-08T06:39:14.617" v="1618" actId="478"/>
        <pc:sldMkLst>
          <pc:docMk/>
          <pc:sldMk cId="2513209308" sldId="324"/>
        </pc:sldMkLst>
        <pc:spChg chg="mod">
          <ac:chgData name="Mark Preston Aragonès" userId="e2d9ad4c-ff72-46e4-84fd-5cf2c670c516" providerId="ADAL" clId="{1BA54521-8D41-435C-AD27-5033055BF43D}" dt="2023-06-07T17:24:58.518" v="1128" actId="14100"/>
          <ac:spMkLst>
            <pc:docMk/>
            <pc:sldMk cId="2513209308" sldId="324"/>
            <ac:spMk id="3" creationId="{B2D39AB2-1BE1-4D3E-BFC5-CBA5161A4F8A}"/>
          </ac:spMkLst>
        </pc:spChg>
        <pc:picChg chg="del">
          <ac:chgData name="Mark Preston Aragonès" userId="e2d9ad4c-ff72-46e4-84fd-5cf2c670c516" providerId="ADAL" clId="{1BA54521-8D41-435C-AD27-5033055BF43D}" dt="2023-06-08T06:39:14.617" v="1618" actId="478"/>
          <ac:picMkLst>
            <pc:docMk/>
            <pc:sldMk cId="2513209308" sldId="324"/>
            <ac:picMk id="2" creationId="{00000000-0000-0000-0000-000000000000}"/>
          </ac:picMkLst>
        </pc:picChg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2263488626" sldId="325"/>
        </pc:sldMkLst>
      </pc:sldChg>
      <pc:sldChg chg="del mod modShow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2437364455" sldId="326"/>
        </pc:sldMkLst>
      </pc:sldChg>
      <pc:sldChg chg="del mod modShow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3764944156" sldId="334"/>
        </pc:sldMkLst>
      </pc:sldChg>
      <pc:sldChg chg="delSp modSp add mod">
        <pc:chgData name="Mark Preston Aragonès" userId="e2d9ad4c-ff72-46e4-84fd-5cf2c670c516" providerId="ADAL" clId="{1BA54521-8D41-435C-AD27-5033055BF43D}" dt="2023-06-08T06:33:22.504" v="1601" actId="478"/>
        <pc:sldMkLst>
          <pc:docMk/>
          <pc:sldMk cId="4259087471" sldId="335"/>
        </pc:sldMkLst>
        <pc:spChg chg="mod">
          <ac:chgData name="Mark Preston Aragonès" userId="e2d9ad4c-ff72-46e4-84fd-5cf2c670c516" providerId="ADAL" clId="{1BA54521-8D41-435C-AD27-5033055BF43D}" dt="2023-06-07T16:02:37.551" v="24" actId="207"/>
          <ac:spMkLst>
            <pc:docMk/>
            <pc:sldMk cId="4259087471" sldId="335"/>
            <ac:spMk id="16" creationId="{B6A7C43D-AA02-E34E-6C19-FB02790C6A97}"/>
          </ac:spMkLst>
        </pc:spChg>
        <pc:spChg chg="mod">
          <ac:chgData name="Mark Preston Aragonès" userId="e2d9ad4c-ff72-46e4-84fd-5cf2c670c516" providerId="ADAL" clId="{1BA54521-8D41-435C-AD27-5033055BF43D}" dt="2023-06-07T16:02:34.003" v="23" actId="207"/>
          <ac:spMkLst>
            <pc:docMk/>
            <pc:sldMk cId="4259087471" sldId="335"/>
            <ac:spMk id="19" creationId="{BB97DD17-B3E8-7603-5B28-245D93CFECC7}"/>
          </ac:spMkLst>
        </pc:spChg>
        <pc:spChg chg="mod">
          <ac:chgData name="Mark Preston Aragonès" userId="e2d9ad4c-ff72-46e4-84fd-5cf2c670c516" providerId="ADAL" clId="{1BA54521-8D41-435C-AD27-5033055BF43D}" dt="2023-06-07T16:02:28.498" v="22" actId="207"/>
          <ac:spMkLst>
            <pc:docMk/>
            <pc:sldMk cId="4259087471" sldId="335"/>
            <ac:spMk id="21" creationId="{1BAC03C7-63F8-9F22-4F9C-E3074BDA5F55}"/>
          </ac:spMkLst>
        </pc:spChg>
        <pc:picChg chg="del">
          <ac:chgData name="Mark Preston Aragonès" userId="e2d9ad4c-ff72-46e4-84fd-5cf2c670c516" providerId="ADAL" clId="{1BA54521-8D41-435C-AD27-5033055BF43D}" dt="2023-06-08T06:33:22.504" v="1601" actId="478"/>
          <ac:picMkLst>
            <pc:docMk/>
            <pc:sldMk cId="4259087471" sldId="335"/>
            <ac:picMk id="3" creationId="{17A7E0BD-F50F-4DDC-8E77-EEA7C7EB96DB}"/>
          </ac:picMkLst>
        </pc:picChg>
      </pc:sldChg>
      <pc:sldChg chg="del mod modShow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469091352" sldId="336"/>
        </pc:sldMkLst>
      </pc:sldChg>
      <pc:sldChg chg="del mod modShow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037619537" sldId="337"/>
        </pc:sldMkLst>
      </pc:sldChg>
      <pc:sldChg chg="del mod modShow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989297246" sldId="338"/>
        </pc:sldMkLst>
      </pc:sldChg>
      <pc:sldChg chg="delSp add mod">
        <pc:chgData name="Mark Preston Aragonès" userId="e2d9ad4c-ff72-46e4-84fd-5cf2c670c516" providerId="ADAL" clId="{1BA54521-8D41-435C-AD27-5033055BF43D}" dt="2023-06-08T06:35:39.991" v="1613" actId="478"/>
        <pc:sldMkLst>
          <pc:docMk/>
          <pc:sldMk cId="2524833632" sldId="339"/>
        </pc:sldMkLst>
        <pc:picChg chg="del">
          <ac:chgData name="Mark Preston Aragonès" userId="e2d9ad4c-ff72-46e4-84fd-5cf2c670c516" providerId="ADAL" clId="{1BA54521-8D41-435C-AD27-5033055BF43D}" dt="2023-06-08T06:35:39.991" v="1613" actId="478"/>
          <ac:picMkLst>
            <pc:docMk/>
            <pc:sldMk cId="2524833632" sldId="339"/>
            <ac:picMk id="4" creationId="{4EB04E95-C6CF-EC62-3E55-3FFFC2E07AAE}"/>
          </ac:picMkLst>
        </pc:picChg>
      </pc:sldChg>
      <pc:sldChg chg="delSp modSp mod">
        <pc:chgData name="Mark Preston Aragonès" userId="e2d9ad4c-ff72-46e4-84fd-5cf2c670c516" providerId="ADAL" clId="{1BA54521-8D41-435C-AD27-5033055BF43D}" dt="2023-06-08T06:34:17.424" v="1612" actId="20577"/>
        <pc:sldMkLst>
          <pc:docMk/>
          <pc:sldMk cId="652725172" sldId="342"/>
        </pc:sldMkLst>
        <pc:spChg chg="mod">
          <ac:chgData name="Mark Preston Aragonès" userId="e2d9ad4c-ff72-46e4-84fd-5cf2c670c516" providerId="ADAL" clId="{1BA54521-8D41-435C-AD27-5033055BF43D}" dt="2023-06-08T06:34:17.424" v="1612" actId="20577"/>
          <ac:spMkLst>
            <pc:docMk/>
            <pc:sldMk cId="652725172" sldId="342"/>
            <ac:spMk id="32" creationId="{65051385-4E7F-7FDC-6D03-1A56760D4776}"/>
          </ac:spMkLst>
        </pc:spChg>
        <pc:picChg chg="del">
          <ac:chgData name="Mark Preston Aragonès" userId="e2d9ad4c-ff72-46e4-84fd-5cf2c670c516" providerId="ADAL" clId="{1BA54521-8D41-435C-AD27-5033055BF43D}" dt="2023-06-08T06:33:19.810" v="1600" actId="478"/>
          <ac:picMkLst>
            <pc:docMk/>
            <pc:sldMk cId="652725172" sldId="342"/>
            <ac:picMk id="4" creationId="{4EB04E95-C6CF-EC62-3E55-3FFFC2E07AAE}"/>
          </ac:picMkLst>
        </pc:picChg>
      </pc:sldChg>
      <pc:sldChg chg="delSp modSp add mod">
        <pc:chgData name="Mark Preston Aragonès" userId="e2d9ad4c-ff72-46e4-84fd-5cf2c670c516" providerId="ADAL" clId="{1BA54521-8D41-435C-AD27-5033055BF43D}" dt="2023-06-08T06:33:29.455" v="1602" actId="478"/>
        <pc:sldMkLst>
          <pc:docMk/>
          <pc:sldMk cId="3898620242" sldId="452"/>
        </pc:sldMkLst>
        <pc:spChg chg="mod">
          <ac:chgData name="Mark Preston Aragonès" userId="e2d9ad4c-ff72-46e4-84fd-5cf2c670c516" providerId="ADAL" clId="{1BA54521-8D41-435C-AD27-5033055BF43D}" dt="2023-06-07T16:02:51.150" v="26" actId="207"/>
          <ac:spMkLst>
            <pc:docMk/>
            <pc:sldMk cId="3898620242" sldId="452"/>
            <ac:spMk id="6" creationId="{426024FD-B9CB-F03A-EE14-D0B1541ACDB0}"/>
          </ac:spMkLst>
        </pc:spChg>
        <pc:spChg chg="mod">
          <ac:chgData name="Mark Preston Aragonès" userId="e2d9ad4c-ff72-46e4-84fd-5cf2c670c516" providerId="ADAL" clId="{1BA54521-8D41-435C-AD27-5033055BF43D}" dt="2023-06-07T16:02:53.809" v="27" actId="207"/>
          <ac:spMkLst>
            <pc:docMk/>
            <pc:sldMk cId="3898620242" sldId="452"/>
            <ac:spMk id="16" creationId="{B6A7C43D-AA02-E34E-6C19-FB02790C6A97}"/>
          </ac:spMkLst>
        </pc:spChg>
        <pc:spChg chg="mod">
          <ac:chgData name="Mark Preston Aragonès" userId="e2d9ad4c-ff72-46e4-84fd-5cf2c670c516" providerId="ADAL" clId="{1BA54521-8D41-435C-AD27-5033055BF43D}" dt="2023-06-07T16:02:48.447" v="25" actId="207"/>
          <ac:spMkLst>
            <pc:docMk/>
            <pc:sldMk cId="3898620242" sldId="452"/>
            <ac:spMk id="21" creationId="{1BAC03C7-63F8-9F22-4F9C-E3074BDA5F55}"/>
          </ac:spMkLst>
        </pc:spChg>
        <pc:picChg chg="del">
          <ac:chgData name="Mark Preston Aragonès" userId="e2d9ad4c-ff72-46e4-84fd-5cf2c670c516" providerId="ADAL" clId="{1BA54521-8D41-435C-AD27-5033055BF43D}" dt="2023-06-08T06:33:29.455" v="1602" actId="478"/>
          <ac:picMkLst>
            <pc:docMk/>
            <pc:sldMk cId="3898620242" sldId="452"/>
            <ac:picMk id="3" creationId="{17A7E0BD-F50F-4DDC-8E77-EEA7C7EB96DB}"/>
          </ac:picMkLst>
        </pc:picChg>
      </pc:sldChg>
      <pc:sldChg chg="delSp add mod">
        <pc:chgData name="Mark Preston Aragonès" userId="e2d9ad4c-ff72-46e4-84fd-5cf2c670c516" providerId="ADAL" clId="{1BA54521-8D41-435C-AD27-5033055BF43D}" dt="2023-06-08T06:33:42.982" v="1603" actId="478"/>
        <pc:sldMkLst>
          <pc:docMk/>
          <pc:sldMk cId="2777058200" sldId="453"/>
        </pc:sldMkLst>
        <pc:picChg chg="del">
          <ac:chgData name="Mark Preston Aragonès" userId="e2d9ad4c-ff72-46e4-84fd-5cf2c670c516" providerId="ADAL" clId="{1BA54521-8D41-435C-AD27-5033055BF43D}" dt="2023-06-08T06:33:42.982" v="1603" actId="478"/>
          <ac:picMkLst>
            <pc:docMk/>
            <pc:sldMk cId="2777058200" sldId="453"/>
            <ac:picMk id="4" creationId="{4EB04E95-C6CF-EC62-3E55-3FFFC2E07AAE}"/>
          </ac:picMkLst>
        </pc:picChg>
      </pc:sldChg>
      <pc:sldChg chg="modSp new del mod">
        <pc:chgData name="Mark Preston Aragonès" userId="e2d9ad4c-ff72-46e4-84fd-5cf2c670c516" providerId="ADAL" clId="{1BA54521-8D41-435C-AD27-5033055BF43D}" dt="2023-06-07T16:17:33.469" v="37" actId="47"/>
        <pc:sldMkLst>
          <pc:docMk/>
          <pc:sldMk cId="645368102" sldId="454"/>
        </pc:sldMkLst>
        <pc:spChg chg="mod">
          <ac:chgData name="Mark Preston Aragonès" userId="e2d9ad4c-ff72-46e4-84fd-5cf2c670c516" providerId="ADAL" clId="{1BA54521-8D41-435C-AD27-5033055BF43D}" dt="2023-06-07T16:17:14.441" v="33" actId="20577"/>
          <ac:spMkLst>
            <pc:docMk/>
            <pc:sldMk cId="645368102" sldId="454"/>
            <ac:spMk id="2" creationId="{A455F0A3-EEA9-3A00-C3B8-494D4FB9B352}"/>
          </ac:spMkLst>
        </pc:spChg>
      </pc:sldChg>
      <pc:sldChg chg="delSp add mod">
        <pc:chgData name="Mark Preston Aragonès" userId="e2d9ad4c-ff72-46e4-84fd-5cf2c670c516" providerId="ADAL" clId="{1BA54521-8D41-435C-AD27-5033055BF43D}" dt="2023-06-08T06:36:18.432" v="1615" actId="478"/>
        <pc:sldMkLst>
          <pc:docMk/>
          <pc:sldMk cId="4090100377" sldId="454"/>
        </pc:sldMkLst>
        <pc:picChg chg="del">
          <ac:chgData name="Mark Preston Aragonès" userId="e2d9ad4c-ff72-46e4-84fd-5cf2c670c516" providerId="ADAL" clId="{1BA54521-8D41-435C-AD27-5033055BF43D}" dt="2023-06-08T06:36:18.432" v="1615" actId="478"/>
          <ac:picMkLst>
            <pc:docMk/>
            <pc:sldMk cId="4090100377" sldId="454"/>
            <ac:picMk id="2" creationId="{00000000-0000-0000-0000-000000000000}"/>
          </ac:picMkLst>
        </pc:picChg>
      </pc:sldChg>
      <pc:sldChg chg="new del">
        <pc:chgData name="Mark Preston Aragonès" userId="e2d9ad4c-ff72-46e4-84fd-5cf2c670c516" providerId="ADAL" clId="{1BA54521-8D41-435C-AD27-5033055BF43D}" dt="2023-06-07T16:17:34.285" v="38" actId="47"/>
        <pc:sldMkLst>
          <pc:docMk/>
          <pc:sldMk cId="1162948941" sldId="455"/>
        </pc:sldMkLst>
      </pc:sldChg>
      <pc:sldChg chg="modSp add modAnim">
        <pc:chgData name="Mark Preston Aragonès" userId="e2d9ad4c-ff72-46e4-84fd-5cf2c670c516" providerId="ADAL" clId="{1BA54521-8D41-435C-AD27-5033055BF43D}" dt="2023-06-07T16:21:40.756" v="47" actId="207"/>
        <pc:sldMkLst>
          <pc:docMk/>
          <pc:sldMk cId="1248552194" sldId="455"/>
        </pc:sldMkLst>
        <pc:spChg chg="mod">
          <ac:chgData name="Mark Preston Aragonès" userId="e2d9ad4c-ff72-46e4-84fd-5cf2c670c516" providerId="ADAL" clId="{1BA54521-8D41-435C-AD27-5033055BF43D}" dt="2023-06-07T16:21:40.756" v="47" actId="207"/>
          <ac:spMkLst>
            <pc:docMk/>
            <pc:sldMk cId="1248552194" sldId="455"/>
            <ac:spMk id="13" creationId="{23AA66A7-E8D4-4D19-A21F-FE44C8C8ADFC}"/>
          </ac:spMkLst>
        </pc:spChg>
      </pc:sldChg>
      <pc:sldChg chg="new del">
        <pc:chgData name="Mark Preston Aragonès" userId="e2d9ad4c-ff72-46e4-84fd-5cf2c670c516" providerId="ADAL" clId="{1BA54521-8D41-435C-AD27-5033055BF43D}" dt="2023-06-07T16:17:34.695" v="39" actId="47"/>
        <pc:sldMkLst>
          <pc:docMk/>
          <pc:sldMk cId="1646460201" sldId="456"/>
        </pc:sldMkLst>
      </pc:sldChg>
      <pc:sldChg chg="delSp modSp add mod ord">
        <pc:chgData name="Mark Preston Aragonès" userId="e2d9ad4c-ff72-46e4-84fd-5cf2c670c516" providerId="ADAL" clId="{1BA54521-8D41-435C-AD27-5033055BF43D}" dt="2023-06-08T06:56:18.737" v="1622" actId="478"/>
        <pc:sldMkLst>
          <pc:docMk/>
          <pc:sldMk cId="1844413312" sldId="456"/>
        </pc:sldMkLst>
        <pc:spChg chg="mod">
          <ac:chgData name="Mark Preston Aragonès" userId="e2d9ad4c-ff72-46e4-84fd-5cf2c670c516" providerId="ADAL" clId="{1BA54521-8D41-435C-AD27-5033055BF43D}" dt="2023-06-07T16:21:56.181" v="52" actId="207"/>
          <ac:spMkLst>
            <pc:docMk/>
            <pc:sldMk cId="1844413312" sldId="456"/>
            <ac:spMk id="13" creationId="{23AA66A7-E8D4-4D19-A21F-FE44C8C8ADFC}"/>
          </ac:spMkLst>
        </pc:spChg>
        <pc:picChg chg="del">
          <ac:chgData name="Mark Preston Aragonès" userId="e2d9ad4c-ff72-46e4-84fd-5cf2c670c516" providerId="ADAL" clId="{1BA54521-8D41-435C-AD27-5033055BF43D}" dt="2023-06-08T06:56:18.737" v="1622" actId="478"/>
          <ac:picMkLst>
            <pc:docMk/>
            <pc:sldMk cId="1844413312" sldId="456"/>
            <ac:picMk id="2" creationId="{00000000-0000-0000-0000-000000000000}"/>
          </ac:picMkLst>
        </pc:picChg>
      </pc:sldChg>
      <pc:sldChg chg="new del">
        <pc:chgData name="Mark Preston Aragonès" userId="e2d9ad4c-ff72-46e4-84fd-5cf2c670c516" providerId="ADAL" clId="{1BA54521-8D41-435C-AD27-5033055BF43D}" dt="2023-06-07T16:17:35.956" v="40" actId="47"/>
        <pc:sldMkLst>
          <pc:docMk/>
          <pc:sldMk cId="1031117722" sldId="457"/>
        </pc:sldMkLst>
      </pc:sldChg>
      <pc:sldChg chg="addSp delSp modSp add mod ord">
        <pc:chgData name="Mark Preston Aragonès" userId="e2d9ad4c-ff72-46e4-84fd-5cf2c670c516" providerId="ADAL" clId="{1BA54521-8D41-435C-AD27-5033055BF43D}" dt="2023-06-08T06:36:16.336" v="1614" actId="478"/>
        <pc:sldMkLst>
          <pc:docMk/>
          <pc:sldMk cId="2823313897" sldId="457"/>
        </pc:sldMkLst>
        <pc:spChg chg="mod">
          <ac:chgData name="Mark Preston Aragonès" userId="e2d9ad4c-ff72-46e4-84fd-5cf2c670c516" providerId="ADAL" clId="{1BA54521-8D41-435C-AD27-5033055BF43D}" dt="2023-06-07T16:39:09.409" v="225" actId="20577"/>
          <ac:spMkLst>
            <pc:docMk/>
            <pc:sldMk cId="2823313897" sldId="457"/>
            <ac:spMk id="3" creationId="{B2D39AB2-1BE1-4D3E-BFC5-CBA5161A4F8A}"/>
          </ac:spMkLst>
        </pc:spChg>
        <pc:spChg chg="mod">
          <ac:chgData name="Mark Preston Aragonès" userId="e2d9ad4c-ff72-46e4-84fd-5cf2c670c516" providerId="ADAL" clId="{1BA54521-8D41-435C-AD27-5033055BF43D}" dt="2023-06-07T17:15:12.998" v="607" actId="6549"/>
          <ac:spMkLst>
            <pc:docMk/>
            <pc:sldMk cId="2823313897" sldId="457"/>
            <ac:spMk id="4" creationId="{72EE47D4-9C26-43C4-9AF0-97E9AB161BFA}"/>
          </ac:spMkLst>
        </pc:spChg>
        <pc:spChg chg="add del mod">
          <ac:chgData name="Mark Preston Aragonès" userId="e2d9ad4c-ff72-46e4-84fd-5cf2c670c516" providerId="ADAL" clId="{1BA54521-8D41-435C-AD27-5033055BF43D}" dt="2023-06-07T16:42:36.689" v="235" actId="478"/>
          <ac:spMkLst>
            <pc:docMk/>
            <pc:sldMk cId="2823313897" sldId="457"/>
            <ac:spMk id="12" creationId="{66B0D8E2-7E64-623D-824A-68BC180D489F}"/>
          </ac:spMkLst>
        </pc:spChg>
        <pc:picChg chg="del">
          <ac:chgData name="Mark Preston Aragonès" userId="e2d9ad4c-ff72-46e4-84fd-5cf2c670c516" providerId="ADAL" clId="{1BA54521-8D41-435C-AD27-5033055BF43D}" dt="2023-06-08T06:36:16.336" v="1614" actId="478"/>
          <ac:picMkLst>
            <pc:docMk/>
            <pc:sldMk cId="2823313897" sldId="457"/>
            <ac:picMk id="2" creationId="{00000000-0000-0000-0000-000000000000}"/>
          </ac:picMkLst>
        </pc:picChg>
        <pc:picChg chg="add mod ord">
          <ac:chgData name="Mark Preston Aragonès" userId="e2d9ad4c-ff72-46e4-84fd-5cf2c670c516" providerId="ADAL" clId="{1BA54521-8D41-435C-AD27-5033055BF43D}" dt="2023-06-07T16:43:26.404" v="302" actId="1076"/>
          <ac:picMkLst>
            <pc:docMk/>
            <pc:sldMk cId="2823313897" sldId="457"/>
            <ac:picMk id="7" creationId="{749BA4CF-9628-67E2-DC56-B707196A96C1}"/>
          </ac:picMkLst>
        </pc:picChg>
        <pc:picChg chg="del">
          <ac:chgData name="Mark Preston Aragonès" userId="e2d9ad4c-ff72-46e4-84fd-5cf2c670c516" providerId="ADAL" clId="{1BA54521-8D41-435C-AD27-5033055BF43D}" dt="2023-06-07T16:42:34.865" v="234" actId="478"/>
          <ac:picMkLst>
            <pc:docMk/>
            <pc:sldMk cId="2823313897" sldId="457"/>
            <ac:picMk id="9" creationId="{62419D0D-4A1A-4000-947F-D8013685812C}"/>
          </ac:picMkLst>
        </pc:picChg>
        <pc:picChg chg="del">
          <ac:chgData name="Mark Preston Aragonès" userId="e2d9ad4c-ff72-46e4-84fd-5cf2c670c516" providerId="ADAL" clId="{1BA54521-8D41-435C-AD27-5033055BF43D}" dt="2023-06-07T16:42:02.391" v="227" actId="478"/>
          <ac:picMkLst>
            <pc:docMk/>
            <pc:sldMk cId="2823313897" sldId="457"/>
            <ac:picMk id="11" creationId="{2FE41C9B-39DE-6015-FCE0-E969CAF00CDE}"/>
          </ac:picMkLst>
        </pc:picChg>
      </pc:sldChg>
      <pc:sldChg chg="addSp delSp modSp add mod modAnim">
        <pc:chgData name="Mark Preston Aragonès" userId="e2d9ad4c-ff72-46e4-84fd-5cf2c670c516" providerId="ADAL" clId="{1BA54521-8D41-435C-AD27-5033055BF43D}" dt="2023-06-08T07:23:05.304" v="1724" actId="14100"/>
        <pc:sldMkLst>
          <pc:docMk/>
          <pc:sldMk cId="3359159198" sldId="458"/>
        </pc:sldMkLst>
        <pc:spChg chg="mod">
          <ac:chgData name="Mark Preston Aragonès" userId="e2d9ad4c-ff72-46e4-84fd-5cf2c670c516" providerId="ADAL" clId="{1BA54521-8D41-435C-AD27-5033055BF43D}" dt="2023-06-07T17:17:22.550" v="676" actId="20577"/>
          <ac:spMkLst>
            <pc:docMk/>
            <pc:sldMk cId="3359159198" sldId="458"/>
            <ac:spMk id="3" creationId="{B2D39AB2-1BE1-4D3E-BFC5-CBA5161A4F8A}"/>
          </ac:spMkLst>
        </pc:spChg>
        <pc:spChg chg="mod">
          <ac:chgData name="Mark Preston Aragonès" userId="e2d9ad4c-ff72-46e4-84fd-5cf2c670c516" providerId="ADAL" clId="{1BA54521-8D41-435C-AD27-5033055BF43D}" dt="2023-06-08T07:23:05.304" v="1724" actId="14100"/>
          <ac:spMkLst>
            <pc:docMk/>
            <pc:sldMk cId="3359159198" sldId="458"/>
            <ac:spMk id="4" creationId="{72EE47D4-9C26-43C4-9AF0-97E9AB161BFA}"/>
          </ac:spMkLst>
        </pc:spChg>
        <pc:spChg chg="add mod">
          <ac:chgData name="Mark Preston Aragonès" userId="e2d9ad4c-ff72-46e4-84fd-5cf2c670c516" providerId="ADAL" clId="{1BA54521-8D41-435C-AD27-5033055BF43D}" dt="2023-06-07T17:23:19.928" v="1061" actId="1076"/>
          <ac:spMkLst>
            <pc:docMk/>
            <pc:sldMk cId="3359159198" sldId="458"/>
            <ac:spMk id="12" creationId="{59F93DC0-85BD-74C2-EA2D-CAEA751C9C68}"/>
          </ac:spMkLst>
        </pc:spChg>
        <pc:picChg chg="del">
          <ac:chgData name="Mark Preston Aragonès" userId="e2d9ad4c-ff72-46e4-84fd-5cf2c670c516" providerId="ADAL" clId="{1BA54521-8D41-435C-AD27-5033055BF43D}" dt="2023-06-08T06:36:23.238" v="1616" actId="478"/>
          <ac:picMkLst>
            <pc:docMk/>
            <pc:sldMk cId="3359159198" sldId="458"/>
            <ac:picMk id="2" creationId="{00000000-0000-0000-0000-000000000000}"/>
          </ac:picMkLst>
        </pc:picChg>
        <pc:picChg chg="add mod modCrop">
          <ac:chgData name="Mark Preston Aragonès" userId="e2d9ad4c-ff72-46e4-84fd-5cf2c670c516" providerId="ADAL" clId="{1BA54521-8D41-435C-AD27-5033055BF43D}" dt="2023-06-07T17:16:54.718" v="622" actId="14100"/>
          <ac:picMkLst>
            <pc:docMk/>
            <pc:sldMk cId="3359159198" sldId="458"/>
            <ac:picMk id="5" creationId="{6A842371-4C47-B614-8A87-2DD29AE128DC}"/>
          </ac:picMkLst>
        </pc:picChg>
        <pc:picChg chg="add mod">
          <ac:chgData name="Mark Preston Aragonès" userId="e2d9ad4c-ff72-46e4-84fd-5cf2c670c516" providerId="ADAL" clId="{1BA54521-8D41-435C-AD27-5033055BF43D}" dt="2023-06-07T17:17:05.138" v="624" actId="14100"/>
          <ac:picMkLst>
            <pc:docMk/>
            <pc:sldMk cId="3359159198" sldId="458"/>
            <ac:picMk id="10" creationId="{603722FE-0DCF-6532-1CFA-2426356175B1}"/>
          </ac:picMkLst>
        </pc:picChg>
        <pc:picChg chg="del">
          <ac:chgData name="Mark Preston Aragonès" userId="e2d9ad4c-ff72-46e4-84fd-5cf2c670c516" providerId="ADAL" clId="{1BA54521-8D41-435C-AD27-5033055BF43D}" dt="2023-06-07T17:15:49.159" v="611" actId="478"/>
          <ac:picMkLst>
            <pc:docMk/>
            <pc:sldMk cId="3359159198" sldId="458"/>
            <ac:picMk id="11" creationId="{2FE41C9B-39DE-6015-FCE0-E969CAF00CDE}"/>
          </ac:picMkLst>
        </pc:picChg>
      </pc:sldChg>
      <pc:sldChg chg="delSp modSp add mod">
        <pc:chgData name="Mark Preston Aragonès" userId="e2d9ad4c-ff72-46e4-84fd-5cf2c670c516" providerId="ADAL" clId="{1BA54521-8D41-435C-AD27-5033055BF43D}" dt="2023-06-08T06:36:30.495" v="1617" actId="478"/>
        <pc:sldMkLst>
          <pc:docMk/>
          <pc:sldMk cId="472098760" sldId="459"/>
        </pc:sldMkLst>
        <pc:spChg chg="mod">
          <ac:chgData name="Mark Preston Aragonès" userId="e2d9ad4c-ff72-46e4-84fd-5cf2c670c516" providerId="ADAL" clId="{1BA54521-8D41-435C-AD27-5033055BF43D}" dt="2023-06-07T17:24:11.778" v="1065" actId="207"/>
          <ac:spMkLst>
            <pc:docMk/>
            <pc:sldMk cId="472098760" sldId="459"/>
            <ac:spMk id="13" creationId="{23AA66A7-E8D4-4D19-A21F-FE44C8C8ADFC}"/>
          </ac:spMkLst>
        </pc:spChg>
        <pc:picChg chg="del">
          <ac:chgData name="Mark Preston Aragonès" userId="e2d9ad4c-ff72-46e4-84fd-5cf2c670c516" providerId="ADAL" clId="{1BA54521-8D41-435C-AD27-5033055BF43D}" dt="2023-06-08T06:36:30.495" v="1617" actId="478"/>
          <ac:picMkLst>
            <pc:docMk/>
            <pc:sldMk cId="472098760" sldId="459"/>
            <ac:picMk id="2" creationId="{00000000-0000-0000-0000-000000000000}"/>
          </ac:picMkLst>
        </pc:picChg>
      </pc:sldChg>
      <pc:sldChg chg="add del">
        <pc:chgData name="Mark Preston Aragonès" userId="e2d9ad4c-ff72-46e4-84fd-5cf2c670c516" providerId="ADAL" clId="{1BA54521-8D41-435C-AD27-5033055BF43D}" dt="2023-06-07T17:40:27.123" v="1596"/>
        <pc:sldMkLst>
          <pc:docMk/>
          <pc:sldMk cId="1354430376" sldId="460"/>
        </pc:sldMkLst>
      </pc:sldChg>
      <pc:sldChg chg="modSp mod">
        <pc:chgData name="Mark Preston Aragonès" userId="e2d9ad4c-ff72-46e4-84fd-5cf2c670c516" providerId="ADAL" clId="{1BA54521-8D41-435C-AD27-5033055BF43D}" dt="2023-06-08T07:26:49.891" v="1751" actId="20577"/>
        <pc:sldMkLst>
          <pc:docMk/>
          <pc:sldMk cId="1668940252" sldId="466"/>
        </pc:sldMkLst>
        <pc:spChg chg="mod">
          <ac:chgData name="Mark Preston Aragonès" userId="e2d9ad4c-ff72-46e4-84fd-5cf2c670c516" providerId="ADAL" clId="{1BA54521-8D41-435C-AD27-5033055BF43D}" dt="2023-06-08T07:26:43.007" v="1750" actId="20577"/>
          <ac:spMkLst>
            <pc:docMk/>
            <pc:sldMk cId="1668940252" sldId="466"/>
            <ac:spMk id="5" creationId="{ECEA62C8-9DBC-0137-B229-739CCD384B16}"/>
          </ac:spMkLst>
        </pc:spChg>
        <pc:spChg chg="mod">
          <ac:chgData name="Mark Preston Aragonès" userId="e2d9ad4c-ff72-46e4-84fd-5cf2c670c516" providerId="ADAL" clId="{1BA54521-8D41-435C-AD27-5033055BF43D}" dt="2023-06-08T07:26:49.891" v="1751" actId="20577"/>
          <ac:spMkLst>
            <pc:docMk/>
            <pc:sldMk cId="1668940252" sldId="466"/>
            <ac:spMk id="8" creationId="{C61CAADA-E63A-2D58-4E3D-16DCD2DE5FB9}"/>
          </ac:spMkLst>
        </pc:spChg>
      </pc:sldChg>
      <pc:sldChg chg="delSp mod">
        <pc:chgData name="Mark Preston Aragonès" userId="e2d9ad4c-ff72-46e4-84fd-5cf2c670c516" providerId="ADAL" clId="{1BA54521-8D41-435C-AD27-5033055BF43D}" dt="2023-06-08T06:39:19.136" v="1620" actId="478"/>
        <pc:sldMkLst>
          <pc:docMk/>
          <pc:sldMk cId="2011456882" sldId="470"/>
        </pc:sldMkLst>
        <pc:picChg chg="del">
          <ac:chgData name="Mark Preston Aragonès" userId="e2d9ad4c-ff72-46e4-84fd-5cf2c670c516" providerId="ADAL" clId="{1BA54521-8D41-435C-AD27-5033055BF43D}" dt="2023-06-08T06:39:19.136" v="1620" actId="478"/>
          <ac:picMkLst>
            <pc:docMk/>
            <pc:sldMk cId="2011456882" sldId="470"/>
            <ac:picMk id="70" creationId="{00000000-0000-0000-0000-000000000000}"/>
          </ac:picMkLst>
        </pc:picChg>
      </pc:sldChg>
      <pc:sldChg chg="delSp modSp del mod delAnim modAnim">
        <pc:chgData name="Mark Preston Aragonès" userId="e2d9ad4c-ff72-46e4-84fd-5cf2c670c516" providerId="ADAL" clId="{1BA54521-8D41-435C-AD27-5033055BF43D}" dt="2023-06-08T10:15:04.324" v="1776" actId="47"/>
        <pc:sldMkLst>
          <pc:docMk/>
          <pc:sldMk cId="574744484" sldId="472"/>
        </pc:sldMkLst>
        <pc:spChg chg="del mod">
          <ac:chgData name="Mark Preston Aragonès" userId="e2d9ad4c-ff72-46e4-84fd-5cf2c670c516" providerId="ADAL" clId="{1BA54521-8D41-435C-AD27-5033055BF43D}" dt="2023-06-08T10:13:55.191" v="1754"/>
          <ac:spMkLst>
            <pc:docMk/>
            <pc:sldMk cId="574744484" sldId="472"/>
            <ac:spMk id="4" creationId="{72EE47D4-9C26-43C4-9AF0-97E9AB161BFA}"/>
          </ac:spMkLst>
        </pc:spChg>
      </pc:sldChg>
      <pc:sldChg chg="del">
        <pc:chgData name="Mark Preston Aragonès" userId="e2d9ad4c-ff72-46e4-84fd-5cf2c670c516" providerId="ADAL" clId="{1BA54521-8D41-435C-AD27-5033055BF43D}" dt="2023-06-08T10:15:23.918" v="1777" actId="47"/>
        <pc:sldMkLst>
          <pc:docMk/>
          <pc:sldMk cId="1729164497" sldId="473"/>
        </pc:sldMkLst>
      </pc:sldChg>
      <pc:sldMasterChg chg="delSldLayout">
        <pc:chgData name="Mark Preston Aragonès" userId="e2d9ad4c-ff72-46e4-84fd-5cf2c670c516" providerId="ADAL" clId="{1BA54521-8D41-435C-AD27-5033055BF43D}" dt="2023-06-08T10:15:23.918" v="1777" actId="47"/>
        <pc:sldMasterMkLst>
          <pc:docMk/>
          <pc:sldMasterMk cId="4274930610" sldId="2147483732"/>
        </pc:sldMasterMkLst>
        <pc:sldLayoutChg chg="del">
          <pc:chgData name="Mark Preston Aragonès" userId="e2d9ad4c-ff72-46e4-84fd-5cf2c670c516" providerId="ADAL" clId="{1BA54521-8D41-435C-AD27-5033055BF43D}" dt="2023-06-08T10:15:23.918" v="1777" actId="47"/>
          <pc:sldLayoutMkLst>
            <pc:docMk/>
            <pc:sldMasterMk cId="4274930610" sldId="2147483732"/>
            <pc:sldLayoutMk cId="1875554444" sldId="2147483745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EC3F8B8-C64C-4AA3-AB25-880E2100C1BD}" type="doc">
      <dgm:prSet loTypeId="urn:microsoft.com/office/officeart/2005/8/layout/rings+Icon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8866C9B1-4C7B-4DE1-B1F7-70798296B93C}">
      <dgm:prSet phldrT="[Text]"/>
      <dgm:spPr>
        <a:solidFill>
          <a:srgbClr val="5CC3B3">
            <a:alpha val="50000"/>
          </a:srgbClr>
        </a:solidFill>
      </dgm:spPr>
      <dgm:t>
        <a:bodyPr/>
        <a:lstStyle/>
        <a:p>
          <a:pPr rtl="0"/>
          <a:r>
            <a:rPr lang="en-GB">
              <a:solidFill>
                <a:srgbClr val="002D44"/>
              </a:solidFill>
            </a:rPr>
            <a:t>CDR</a:t>
          </a:r>
          <a:r>
            <a:rPr lang="en-GB">
              <a:solidFill>
                <a:srgbClr val="002D44"/>
              </a:solidFill>
              <a:latin typeface="Calibri Light" panose="020F0302020204030204"/>
            </a:rPr>
            <a:t> optimism</a:t>
          </a:r>
          <a:endParaRPr lang="en-GB">
            <a:solidFill>
              <a:srgbClr val="002D44"/>
            </a:solidFill>
          </a:endParaRPr>
        </a:p>
      </dgm:t>
    </dgm:pt>
    <dgm:pt modelId="{EF81BE69-3A80-497B-A1B0-FBD1CAB83406}" type="parTrans" cxnId="{992352AE-15B3-41E2-95A1-01E2FBA34920}">
      <dgm:prSet/>
      <dgm:spPr/>
      <dgm:t>
        <a:bodyPr/>
        <a:lstStyle/>
        <a:p>
          <a:endParaRPr lang="en-GB"/>
        </a:p>
      </dgm:t>
    </dgm:pt>
    <dgm:pt modelId="{4BE7E692-FA1F-42E8-962E-1C60B50F0478}" type="sibTrans" cxnId="{992352AE-15B3-41E2-95A1-01E2FBA34920}">
      <dgm:prSet/>
      <dgm:spPr/>
      <dgm:t>
        <a:bodyPr/>
        <a:lstStyle/>
        <a:p>
          <a:endParaRPr lang="en-GB"/>
        </a:p>
      </dgm:t>
    </dgm:pt>
    <dgm:pt modelId="{F15113A1-3635-4388-AB1A-8662811EFFA4}">
      <dgm:prSet phldrT="[Text]"/>
      <dgm:spPr>
        <a:solidFill>
          <a:srgbClr val="5CC3B3">
            <a:alpha val="50000"/>
          </a:srgbClr>
        </a:solidFill>
      </dgm:spPr>
      <dgm:t>
        <a:bodyPr/>
        <a:lstStyle/>
        <a:p>
          <a:r>
            <a:rPr lang="en-GB">
              <a:solidFill>
                <a:srgbClr val="002D44"/>
              </a:solidFill>
            </a:rPr>
            <a:t>CDR </a:t>
          </a:r>
          <a:r>
            <a:rPr lang="en-GB">
              <a:solidFill>
                <a:srgbClr val="002D44"/>
              </a:solidFill>
              <a:latin typeface="Calibri Light" panose="020F0302020204030204"/>
            </a:rPr>
            <a:t>concerns</a:t>
          </a:r>
          <a:endParaRPr lang="en-GB">
            <a:solidFill>
              <a:srgbClr val="002D44"/>
            </a:solidFill>
          </a:endParaRPr>
        </a:p>
      </dgm:t>
    </dgm:pt>
    <dgm:pt modelId="{4CDE4CF4-D043-4867-BBF7-147E50F0F86C}" type="parTrans" cxnId="{E68E077B-AD32-41E4-97B1-56C6CDD0CA8D}">
      <dgm:prSet/>
      <dgm:spPr/>
      <dgm:t>
        <a:bodyPr/>
        <a:lstStyle/>
        <a:p>
          <a:endParaRPr lang="en-GB"/>
        </a:p>
      </dgm:t>
    </dgm:pt>
    <dgm:pt modelId="{C0CBB391-E82A-439C-A65A-64A6EA9DA418}" type="sibTrans" cxnId="{E68E077B-AD32-41E4-97B1-56C6CDD0CA8D}">
      <dgm:prSet/>
      <dgm:spPr/>
      <dgm:t>
        <a:bodyPr/>
        <a:lstStyle/>
        <a:p>
          <a:endParaRPr lang="en-GB"/>
        </a:p>
      </dgm:t>
    </dgm:pt>
    <dgm:pt modelId="{EAE86C86-35E8-4B74-A9CE-D0EC41A7F487}" type="pres">
      <dgm:prSet presAssocID="{AEC3F8B8-C64C-4AA3-AB25-880E2100C1BD}" presName="Name0" presStyleCnt="0">
        <dgm:presLayoutVars>
          <dgm:chMax val="7"/>
          <dgm:dir/>
          <dgm:resizeHandles val="exact"/>
        </dgm:presLayoutVars>
      </dgm:prSet>
      <dgm:spPr/>
    </dgm:pt>
    <dgm:pt modelId="{F7BC0CE4-3F47-418A-A86C-65D2888C598D}" type="pres">
      <dgm:prSet presAssocID="{AEC3F8B8-C64C-4AA3-AB25-880E2100C1BD}" presName="ellipse1" presStyleLbl="vennNode1" presStyleIdx="0" presStyleCnt="2" custLinFactNeighborX="-4938" custLinFactNeighborY="1487">
        <dgm:presLayoutVars>
          <dgm:bulletEnabled val="1"/>
        </dgm:presLayoutVars>
      </dgm:prSet>
      <dgm:spPr/>
    </dgm:pt>
    <dgm:pt modelId="{90E16CE8-9CBD-49C6-868E-76C82E413788}" type="pres">
      <dgm:prSet presAssocID="{AEC3F8B8-C64C-4AA3-AB25-880E2100C1BD}" presName="ellipse2" presStyleLbl="vennNode1" presStyleIdx="1" presStyleCnt="2" custLinFactNeighborX="27907" custLinFactNeighborY="-65208">
        <dgm:presLayoutVars>
          <dgm:bulletEnabled val="1"/>
        </dgm:presLayoutVars>
      </dgm:prSet>
      <dgm:spPr/>
    </dgm:pt>
  </dgm:ptLst>
  <dgm:cxnLst>
    <dgm:cxn modelId="{4F8E8F17-54E7-41FD-90AD-0BC229361900}" type="presOf" srcId="{F15113A1-3635-4388-AB1A-8662811EFFA4}" destId="{90E16CE8-9CBD-49C6-868E-76C82E413788}" srcOrd="0" destOrd="0" presId="urn:microsoft.com/office/officeart/2005/8/layout/rings+Icon"/>
    <dgm:cxn modelId="{BAD10B49-7291-4BAC-B72F-5493F2798C1A}" type="presOf" srcId="{AEC3F8B8-C64C-4AA3-AB25-880E2100C1BD}" destId="{EAE86C86-35E8-4B74-A9CE-D0EC41A7F487}" srcOrd="0" destOrd="0" presId="urn:microsoft.com/office/officeart/2005/8/layout/rings+Icon"/>
    <dgm:cxn modelId="{E68E077B-AD32-41E4-97B1-56C6CDD0CA8D}" srcId="{AEC3F8B8-C64C-4AA3-AB25-880E2100C1BD}" destId="{F15113A1-3635-4388-AB1A-8662811EFFA4}" srcOrd="1" destOrd="0" parTransId="{4CDE4CF4-D043-4867-BBF7-147E50F0F86C}" sibTransId="{C0CBB391-E82A-439C-A65A-64A6EA9DA418}"/>
    <dgm:cxn modelId="{F15087A6-BA33-419B-B69D-063F90D1392B}" type="presOf" srcId="{8866C9B1-4C7B-4DE1-B1F7-70798296B93C}" destId="{F7BC0CE4-3F47-418A-A86C-65D2888C598D}" srcOrd="0" destOrd="0" presId="urn:microsoft.com/office/officeart/2005/8/layout/rings+Icon"/>
    <dgm:cxn modelId="{992352AE-15B3-41E2-95A1-01E2FBA34920}" srcId="{AEC3F8B8-C64C-4AA3-AB25-880E2100C1BD}" destId="{8866C9B1-4C7B-4DE1-B1F7-70798296B93C}" srcOrd="0" destOrd="0" parTransId="{EF81BE69-3A80-497B-A1B0-FBD1CAB83406}" sibTransId="{4BE7E692-FA1F-42E8-962E-1C60B50F0478}"/>
    <dgm:cxn modelId="{3F18A852-4550-4DF5-A910-49725A4FDE48}" type="presParOf" srcId="{EAE86C86-35E8-4B74-A9CE-D0EC41A7F487}" destId="{F7BC0CE4-3F47-418A-A86C-65D2888C598D}" srcOrd="0" destOrd="0" presId="urn:microsoft.com/office/officeart/2005/8/layout/rings+Icon"/>
    <dgm:cxn modelId="{467CC800-E498-4B2B-BCE7-6E1FDF017AC4}" type="presParOf" srcId="{EAE86C86-35E8-4B74-A9CE-D0EC41A7F487}" destId="{90E16CE8-9CBD-49C6-868E-76C82E413788}" srcOrd="1" destOrd="0" presId="urn:microsoft.com/office/officeart/2005/8/layout/rings+Icon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BC0CE4-3F47-418A-A86C-65D2888C598D}">
      <dsp:nvSpPr>
        <dsp:cNvPr id="0" name=""/>
        <dsp:cNvSpPr/>
      </dsp:nvSpPr>
      <dsp:spPr>
        <a:xfrm>
          <a:off x="1441793" y="48337"/>
          <a:ext cx="3250429" cy="3250658"/>
        </a:xfrm>
        <a:prstGeom prst="ellipse">
          <a:avLst/>
        </a:prstGeom>
        <a:solidFill>
          <a:srgbClr val="5CC3B3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ctr" defTabSz="182245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>
              <a:solidFill>
                <a:srgbClr val="002D44"/>
              </a:solidFill>
            </a:rPr>
            <a:t>CDR</a:t>
          </a:r>
          <a:r>
            <a:rPr lang="en-GB" sz="4100" kern="1200">
              <a:solidFill>
                <a:srgbClr val="002D44"/>
              </a:solidFill>
              <a:latin typeface="Calibri Light" panose="020F0302020204030204"/>
            </a:rPr>
            <a:t> optimism</a:t>
          </a:r>
          <a:endParaRPr lang="en-GB" sz="4100" kern="1200">
            <a:solidFill>
              <a:srgbClr val="002D44"/>
            </a:solidFill>
          </a:endParaRPr>
        </a:p>
      </dsp:txBody>
      <dsp:txXfrm>
        <a:off x="1917807" y="524385"/>
        <a:ext cx="2298401" cy="2298562"/>
      </dsp:txXfrm>
    </dsp:sp>
    <dsp:sp modelId="{90E16CE8-9CBD-49C6-868E-76C82E413788}">
      <dsp:nvSpPr>
        <dsp:cNvPr id="0" name=""/>
        <dsp:cNvSpPr/>
      </dsp:nvSpPr>
      <dsp:spPr>
        <a:xfrm>
          <a:off x="4182368" y="48319"/>
          <a:ext cx="3250429" cy="3250658"/>
        </a:xfrm>
        <a:prstGeom prst="ellipse">
          <a:avLst/>
        </a:prstGeom>
        <a:solidFill>
          <a:srgbClr val="5CC3B3">
            <a:alpha val="50000"/>
          </a:srgb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56210" tIns="156210" rIns="156210" bIns="156210" numCol="1" spcCol="1270" anchor="ctr" anchorCtr="0">
          <a:noAutofit/>
        </a:bodyPr>
        <a:lstStyle/>
        <a:p>
          <a:pPr marL="0" lvl="0" indent="0" algn="ctr" defTabSz="1822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4100" kern="1200">
              <a:solidFill>
                <a:srgbClr val="002D44"/>
              </a:solidFill>
            </a:rPr>
            <a:t>CDR </a:t>
          </a:r>
          <a:r>
            <a:rPr lang="en-GB" sz="4100" kern="1200">
              <a:solidFill>
                <a:srgbClr val="002D44"/>
              </a:solidFill>
              <a:latin typeface="Calibri Light" panose="020F0302020204030204"/>
            </a:rPr>
            <a:t>concerns</a:t>
          </a:r>
          <a:endParaRPr lang="en-GB" sz="4100" kern="1200">
            <a:solidFill>
              <a:srgbClr val="002D44"/>
            </a:solidFill>
          </a:endParaRPr>
        </a:p>
      </dsp:txBody>
      <dsp:txXfrm>
        <a:off x="4658382" y="524367"/>
        <a:ext cx="2298401" cy="22985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ings+Icon">
  <dgm:title val="Interconnected Rings"/>
  <dgm:desc val="Use to show overlapping or interconnected ideas or concepts. The first seven lines of Level 1 text correspond with a circle. Unused text does not appear, but remains available if you switch layouts.  "/>
  <dgm:catLst>
    <dgm:cat type="relationship" pri="32000"/>
    <dgm:cat type="officeonline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0"/>
        <dgm:pt modelId="20"/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/>
        <dgm:pt modelId="20"/>
        <dgm:pt modelId="30"/>
        <dgm:pt modelId="40"/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2" destOrd="0"/>
      </dgm:cxnLst>
      <dgm:bg/>
      <dgm:whole/>
    </dgm:dataModel>
  </dgm:clrData>
  <dgm:layoutNode name="Name0">
    <dgm:varLst>
      <dgm:chMax val="7"/>
      <dgm:dir/>
      <dgm:resizeHandles val="exact"/>
    </dgm:varLst>
    <dgm:choose name="Name1">
      <dgm:if name="Name2" axis="ch" ptType="node" func="cnt" op="lt" val="1">
        <dgm:alg type="composite"/>
        <dgm:shape xmlns:r="http://schemas.openxmlformats.org/officeDocument/2006/relationships" r:blip="">
          <dgm:adjLst/>
        </dgm:shape>
        <dgm:presOf/>
        <dgm:constrLst/>
        <dgm:ruleLst/>
      </dgm:if>
      <dgm:if name="Name3" axis="ch" ptType="node" func="cnt" op="equ" val="1">
        <dgm:alg type="composite">
          <dgm:param type="ar" val="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/>
          <dgm:constr type="h" for="ch" forName="ellipse1" refType="h"/>
        </dgm:constrLst>
      </dgm:if>
      <dgm:if name="Name4" axis="ch" ptType="node" func="cnt" op="equ" val="2">
        <dgm:alg type="composite">
          <dgm:param type="ar" val="0.908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6602"/>
          <dgm:constr type="h" for="ch" forName="ellipse1" refType="h" fact="0.5999"/>
          <dgm:constr type="l" for="ch" forName="ellipse2" refType="w" fact="0.3398"/>
          <dgm:constr type="t" for="ch" forName="ellipse2" refType="h" fact="0.4001"/>
          <dgm:constr type="w" for="ch" forName="ellipse2" refType="w" fact="0.6602"/>
          <dgm:constr type="h" for="ch" forName="ellipse2" refType="h" fact="0.5999"/>
        </dgm:constrLst>
      </dgm:if>
      <dgm:if name="Name5" axis="ch" ptType="node" func="cnt" op="equ" val="3">
        <dgm:alg type="composite">
          <dgm:param type="ar" val="1.2171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4929"/>
          <dgm:constr type="h" for="ch" forName="ellipse1" refType="h" fact="0.5999"/>
          <dgm:constr type="l" for="ch" forName="ellipse2" refType="w" fact="0.2537"/>
          <dgm:constr type="t" for="ch" forName="ellipse2" refType="h" fact="0.4001"/>
          <dgm:constr type="w" for="ch" forName="ellipse2" refType="w" fact="0.4929"/>
          <dgm:constr type="h" for="ch" forName="ellipse2" refType="h" fact="0.5999"/>
          <dgm:constr type="l" for="ch" forName="ellipse3" refType="w" fact="0.5071"/>
          <dgm:constr type="t" for="ch" forName="ellipse3" refType="h" fact="0"/>
          <dgm:constr type="w" for="ch" forName="ellipse3" refType="w" fact="0.4929"/>
          <dgm:constr type="h" for="ch" forName="ellipse3" refType="h" fact="0.5999"/>
        </dgm:constrLst>
      </dgm:if>
      <dgm:if name="Name6" axis="ch" ptType="node" func="cnt" op="equ" val="4">
        <dgm:alg type="composite">
          <dgm:param type="ar" val="1.5255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932"/>
          <dgm:constr type="h" for="ch" forName="ellipse1" refType="h" fact="0.5999"/>
          <dgm:constr type="l" for="ch" forName="ellipse2" refType="w" fact="0.2023"/>
          <dgm:constr type="t" for="ch" forName="ellipse2" refType="h" fact="0.4001"/>
          <dgm:constr type="w" for="ch" forName="ellipse2" refType="w" fact="0.3932"/>
          <dgm:constr type="h" for="ch" forName="ellipse2" refType="h" fact="0.5999"/>
          <dgm:constr type="l" for="ch" forName="ellipse3" refType="w" fact="0.4045"/>
          <dgm:constr type="t" for="ch" forName="ellipse3" refType="h" fact="0"/>
          <dgm:constr type="w" for="ch" forName="ellipse3" refType="w" fact="0.3932"/>
          <dgm:constr type="h" for="ch" forName="ellipse3" refType="h" fact="0.5999"/>
          <dgm:constr type="l" for="ch" forName="ellipse4" refType="w" fact="0.6068"/>
          <dgm:constr type="t" for="ch" forName="ellipse4" refType="h" fact="0.4001"/>
          <dgm:constr type="w" for="ch" forName="ellipse4" refType="w" fact="0.3932"/>
          <dgm:constr type="h" for="ch" forName="ellipse4" refType="h" fact="0.5999"/>
        </dgm:constrLst>
      </dgm:if>
      <dgm:if name="Name7" axis="ch" ptType="node" func="cnt" op="equ" val="5">
        <dgm:alg type="composite">
          <dgm:param type="ar" val="1.834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3271"/>
          <dgm:constr type="h" for="ch" forName="ellipse1" refType="h" fact="0.5999"/>
          <dgm:constr type="l" for="ch" forName="ellipse2" refType="w" fact="0.1682"/>
          <dgm:constr type="t" for="ch" forName="ellipse2" refType="h" fact="0.4001"/>
          <dgm:constr type="w" for="ch" forName="ellipse2" refType="w" fact="0.3271"/>
          <dgm:constr type="h" for="ch" forName="ellipse2" refType="h" fact="0.5999"/>
          <dgm:constr type="l" for="ch" forName="ellipse3" refType="w" fact="0.3365"/>
          <dgm:constr type="t" for="ch" forName="ellipse3" refType="h" fact="0"/>
          <dgm:constr type="w" for="ch" forName="ellipse3" refType="w" fact="0.3271"/>
          <dgm:constr type="h" for="ch" forName="ellipse3" refType="h" fact="0.5999"/>
          <dgm:constr type="l" for="ch" forName="ellipse4" refType="w" fact="0.5047"/>
          <dgm:constr type="t" for="ch" forName="ellipse4" refType="h" fact="0.4001"/>
          <dgm:constr type="w" for="ch" forName="ellipse4" refType="w" fact="0.3271"/>
          <dgm:constr type="h" for="ch" forName="ellipse4" refType="h" fact="0.5999"/>
          <dgm:constr type="l" for="ch" forName="ellipse5" refType="w" fact="0.6729"/>
          <dgm:constr type="t" for="ch" forName="ellipse5" refType="h" fact="0"/>
          <dgm:constr type="w" for="ch" forName="ellipse5" refType="w" fact="0.3271"/>
          <dgm:constr type="h" for="ch" forName="ellipse5" refType="h" fact="0.5999"/>
        </dgm:constrLst>
      </dgm:if>
      <dgm:if name="Name8" axis="ch" ptType="node" func="cnt" op="equ" val="6">
        <dgm:alg type="composite">
          <dgm:param type="ar" val="2.1873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78"/>
          <dgm:constr type="h" for="ch" forName="ellipse1" refType="h" fact="0.6081"/>
          <dgm:constr type="l" for="ch" forName="ellipse2" refType="w" fact="0.1444"/>
          <dgm:constr type="t" for="ch" forName="ellipse2" refType="h" fact="0.3919"/>
          <dgm:constr type="w" for="ch" forName="ellipse2" refType="w" fact="0.278"/>
          <dgm:constr type="h" for="ch" forName="ellipse2" refType="h" fact="0.6081"/>
          <dgm:constr type="l" for="ch" forName="ellipse3" refType="w" fact="0.2888"/>
          <dgm:constr type="t" for="ch" forName="ellipse3" refType="h" fact="0"/>
          <dgm:constr type="w" for="ch" forName="ellipse3" refType="w" fact="0.278"/>
          <dgm:constr type="h" for="ch" forName="ellipse3" refType="h" fact="0.6081"/>
          <dgm:constr type="l" for="ch" forName="ellipse4" refType="w" fact="0.4332"/>
          <dgm:constr type="t" for="ch" forName="ellipse4" refType="h" fact="0.3919"/>
          <dgm:constr type="w" for="ch" forName="ellipse4" refType="w" fact="0.278"/>
          <dgm:constr type="h" for="ch" forName="ellipse4" refType="h" fact="0.6081"/>
          <dgm:constr type="l" for="ch" forName="ellipse5" refType="w" fact="0.5776"/>
          <dgm:constr type="t" for="ch" forName="ellipse5" refType="h" fact="0"/>
          <dgm:constr type="w" for="ch" forName="ellipse5" refType="w" fact="0.278"/>
          <dgm:constr type="h" for="ch" forName="ellipse5" refType="h" fact="0.6081"/>
          <dgm:constr type="l" for="ch" forName="ellipse6" refType="w" fact="0.722"/>
          <dgm:constr type="t" for="ch" forName="ellipse6" refType="h" fact="0.3919"/>
          <dgm:constr type="w" for="ch" forName="ellipse6" refType="w" fact="0.278"/>
          <dgm:constr type="h" for="ch" forName="ellipse6" refType="h" fact="0.6081"/>
        </dgm:constrLst>
      </dgm:if>
      <dgm:else name="Name9">
        <dgm:alg type="composite">
          <dgm:param type="ar" val="2.3466"/>
        </dgm:alg>
        <dgm:shape xmlns:r="http://schemas.openxmlformats.org/officeDocument/2006/relationships" r:blip="">
          <dgm:adjLst/>
        </dgm:shape>
        <dgm:presOf/>
        <dgm:constrLst>
          <dgm:constr type="primFontSz" for="des" ptType="node" op="equ" val="65"/>
          <dgm:constr type="l" for="ch" forName="ellipse1" refType="w" fact="0"/>
          <dgm:constr type="t" for="ch" forName="ellipse1" refType="h" fact="0"/>
          <dgm:constr type="w" for="ch" forName="ellipse1" refType="w" fact="0.2455"/>
          <dgm:constr type="h" for="ch" forName="ellipse1" refType="h" fact="0.5761"/>
          <dgm:constr type="l" for="ch" forName="ellipse2" refType="w" fact="0.1257"/>
          <dgm:constr type="t" for="ch" forName="ellipse2" refType="h" fact="0.4239"/>
          <dgm:constr type="w" for="ch" forName="ellipse2" refType="w" fact="0.2455"/>
          <dgm:constr type="h" for="ch" forName="ellipse2" refType="h" fact="0.5761"/>
          <dgm:constr type="l" for="ch" forName="ellipse3" refType="w" fact="0.2515"/>
          <dgm:constr type="t" for="ch" forName="ellipse3" refType="h" fact="0"/>
          <dgm:constr type="w" for="ch" forName="ellipse3" refType="w" fact="0.2455"/>
          <dgm:constr type="h" for="ch" forName="ellipse3" refType="h" fact="0.5761"/>
          <dgm:constr type="l" for="ch" forName="ellipse4" refType="w" fact="0.3772"/>
          <dgm:constr type="t" for="ch" forName="ellipse4" refType="h" fact="0.4239"/>
          <dgm:constr type="w" for="ch" forName="ellipse4" refType="w" fact="0.2455"/>
          <dgm:constr type="h" for="ch" forName="ellipse4" refType="h" fact="0.5761"/>
          <dgm:constr type="l" for="ch" forName="ellipse5" refType="w" fact="0.503"/>
          <dgm:constr type="t" for="ch" forName="ellipse5" refType="h" fact="0"/>
          <dgm:constr type="w" for="ch" forName="ellipse5" refType="w" fact="0.2455"/>
          <dgm:constr type="h" for="ch" forName="ellipse5" refType="h" fact="0.5761"/>
          <dgm:constr type="l" for="ch" forName="ellipse6" refType="w" fact="0.6287"/>
          <dgm:constr type="t" for="ch" forName="ellipse6" refType="h" fact="0.4239"/>
          <dgm:constr type="w" for="ch" forName="ellipse6" refType="w" fact="0.2455"/>
          <dgm:constr type="h" for="ch" forName="ellipse6" refType="h" fact="0.5761"/>
          <dgm:constr type="l" for="ch" forName="ellipse7" refType="w" fact="0.7545"/>
          <dgm:constr type="t" for="ch" forName="ellipse7" refType="h" fact="0"/>
          <dgm:constr type="w" for="ch" forName="ellipse7" refType="w" fact="0.2455"/>
          <dgm:constr type="h" for="ch" forName="ellipse7" refType="h" fact="0.5761"/>
        </dgm:constrLst>
      </dgm:else>
    </dgm:choose>
    <dgm:choose name="Name10">
      <dgm:if name="Name11" axis="ch" ptType="node" func="cnt" op="gte" val="1">
        <dgm:layoutNode name="ellipse1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12">
            <dgm:if name="Name13" func="var" arg="dir" op="equ" val="norm">
              <dgm:presOf axis="ch desOrSelf" ptType="node node" st="1 1" cnt="1 0"/>
            </dgm:if>
            <dgm:else name="Name14">
              <dgm:choose name="Name15">
                <dgm:if name="Name16" axis="ch" ptType="node" func="cnt" op="equ" val="1">
                  <dgm:presOf axis="ch desOrSelf" ptType="node node" st="1 1" cnt="1 0"/>
                </dgm:if>
                <dgm:if name="Name17" axis="ch" ptType="node" func="cnt" op="equ" val="2">
                  <dgm:presOf axis="ch desOrSelf" ptType="node node" st="2 1" cnt="1 0"/>
                </dgm:if>
                <dgm:if name="Name18" axis="ch" ptType="node" func="cnt" op="equ" val="3">
                  <dgm:presOf axis="ch desOrSelf" ptType="node node" st="3 1" cnt="1 0"/>
                </dgm:if>
                <dgm:if name="Name19" axis="ch" ptType="node" func="cnt" op="equ" val="4">
                  <dgm:presOf axis="ch desOrSelf" ptType="node node" st="4 1" cnt="1 0"/>
                </dgm:if>
                <dgm:if name="Name20" axis="ch" ptType="node" func="cnt" op="equ" val="5">
                  <dgm:presOf axis="ch desOrSelf" ptType="node node" st="5 1" cnt="1 0"/>
                </dgm:if>
                <dgm:if name="Name21" axis="ch" ptType="node" func="cnt" op="equ" val="6">
                  <dgm:presOf axis="ch desOrSelf" ptType="node node" st="6 1" cnt="1 0"/>
                </dgm:if>
                <dgm:if name="Name22" axis="ch" ptType="node" func="cnt" op="gte" val="7">
                  <dgm:presOf axis="ch desOrSelf" ptType="node node" st="7 1" cnt="1 0"/>
                </dgm:if>
                <dgm:else name="Name2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24"/>
    </dgm:choose>
    <dgm:choose name="Name25">
      <dgm:if name="Name26" axis="ch" ptType="node" func="cnt" op="gte" val="2">
        <dgm:layoutNode name="ellipse2" styleLbl="vennNode1">
          <dgm:varLst>
            <dgm:bulletEnabled val="1"/>
          </dgm:varLst>
          <dgm:alg type="tx"/>
          <dgm:choose name="Name27">
            <dgm:if name="Name2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2 1" cnt="1 0"/>
            </dgm:if>
            <dgm:else name="Name29">
              <dgm:shape xmlns:r="http://schemas.openxmlformats.org/officeDocument/2006/relationships" type="ellipse" r:blip="" zOrderOff="-2">
                <dgm:adjLst/>
              </dgm:shape>
              <dgm:choose name="Name30">
                <dgm:if name="Name31" axis="ch" ptType="node" func="cnt" op="equ" val="2">
                  <dgm:presOf axis="ch desOrSelf" ptType="node node" st="1 1" cnt="1 0"/>
                </dgm:if>
                <dgm:if name="Name32" axis="ch" ptType="node" func="cnt" op="equ" val="3">
                  <dgm:presOf axis="ch desOrSelf" ptType="node node" st="2 1" cnt="1 0"/>
                </dgm:if>
                <dgm:if name="Name33" axis="ch" ptType="node" func="cnt" op="equ" val="4">
                  <dgm:presOf axis="ch desOrSelf" ptType="node node" st="3 1" cnt="1 0"/>
                </dgm:if>
                <dgm:if name="Name34" axis="ch" ptType="node" func="cnt" op="equ" val="5">
                  <dgm:presOf axis="ch desOrSelf" ptType="node node" st="4 1" cnt="1 0"/>
                </dgm:if>
                <dgm:if name="Name35" axis="ch" ptType="node" func="cnt" op="equ" val="6">
                  <dgm:presOf axis="ch desOrSelf" ptType="node node" st="5 1" cnt="1 0"/>
                </dgm:if>
                <dgm:if name="Name36" axis="ch" ptType="node" func="cnt" op="gte" val="7">
                  <dgm:presOf axis="ch desOrSelf" ptType="node node" st="6 1" cnt="1 0"/>
                </dgm:if>
                <dgm:else name="Name37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  <dgm:choose name="Name39">
      <dgm:if name="Name40" axis="ch" ptType="node" func="cnt" op="gte" val="3">
        <dgm:layoutNode name="ellipse3" styleLbl="vennNode1">
          <dgm:varLst>
            <dgm:bulletEnabled val="1"/>
          </dgm:varLst>
          <dgm:alg type="tx"/>
          <dgm:shape xmlns:r="http://schemas.openxmlformats.org/officeDocument/2006/relationships" type="ellipse" r:blip="">
            <dgm:adjLst/>
          </dgm:shape>
          <dgm:choose name="Name41">
            <dgm:if name="Name42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3 1" cnt="1 0"/>
            </dgm:if>
            <dgm:else name="Name43">
              <dgm:shape xmlns:r="http://schemas.openxmlformats.org/officeDocument/2006/relationships" type="ellipse" r:blip="" zOrderOff="-4">
                <dgm:adjLst/>
              </dgm:shape>
              <dgm:choose name="Name44">
                <dgm:if name="Name45" axis="ch" ptType="node" func="cnt" op="equ" val="3">
                  <dgm:presOf axis="ch desOrSelf" ptType="node node" st="1 1" cnt="1 0"/>
                </dgm:if>
                <dgm:if name="Name46" axis="ch" ptType="node" func="cnt" op="equ" val="4">
                  <dgm:presOf axis="ch desOrSelf" ptType="node node" st="2 1" cnt="1 0"/>
                </dgm:if>
                <dgm:if name="Name47" axis="ch" ptType="node" func="cnt" op="equ" val="5">
                  <dgm:presOf axis="ch desOrSelf" ptType="node node" st="3 1" cnt="1 0"/>
                </dgm:if>
                <dgm:if name="Name48" axis="ch" ptType="node" func="cnt" op="equ" val="6">
                  <dgm:presOf axis="ch desOrSelf" ptType="node node" st="4 1" cnt="1 0"/>
                </dgm:if>
                <dgm:if name="Name49" axis="ch" ptType="node" func="cnt" op="gte" val="7">
                  <dgm:presOf axis="ch desOrSelf" ptType="node node" st="5 1" cnt="1 0"/>
                </dgm:if>
                <dgm:else name="Name50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1"/>
    </dgm:choose>
    <dgm:choose name="Name52">
      <dgm:if name="Name53" axis="ch" ptType="node" func="cnt" op="gte" val="4">
        <dgm:layoutNode name="ellipse4" styleLbl="vennNode1">
          <dgm:varLst>
            <dgm:bulletEnabled val="1"/>
          </dgm:varLst>
          <dgm:alg type="tx"/>
          <dgm:choose name="Name54">
            <dgm:if name="Name55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4 1" cnt="1 0"/>
            </dgm:if>
            <dgm:else name="Name56">
              <dgm:shape xmlns:r="http://schemas.openxmlformats.org/officeDocument/2006/relationships" type="ellipse" r:blip="" zOrderOff="-6">
                <dgm:adjLst/>
              </dgm:shape>
              <dgm:choose name="Name57">
                <dgm:if name="Name58" axis="ch" ptType="node" func="cnt" op="equ" val="4">
                  <dgm:presOf axis="ch desOrSelf" ptType="node node" st="1 1" cnt="1 0"/>
                </dgm:if>
                <dgm:if name="Name59" axis="ch" ptType="node" func="cnt" op="equ" val="5">
                  <dgm:presOf axis="ch desOrSelf" ptType="node node" st="2 1" cnt="1 0"/>
                </dgm:if>
                <dgm:if name="Name60" axis="ch" ptType="node" func="cnt" op="equ" val="6">
                  <dgm:presOf axis="ch desOrSelf" ptType="node node" st="3 1" cnt="1 0"/>
                </dgm:if>
                <dgm:if name="Name61" axis="ch" ptType="node" func="cnt" op="gte" val="7">
                  <dgm:presOf axis="ch desOrSelf" ptType="node node" st="4 1" cnt="1 0"/>
                </dgm:if>
                <dgm:else name="Name62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63"/>
    </dgm:choose>
    <dgm:choose name="Name64">
      <dgm:if name="Name65" axis="ch" ptType="node" func="cnt" op="gte" val="5">
        <dgm:layoutNode name="ellipse5" styleLbl="vennNode1">
          <dgm:varLst>
            <dgm:bulletEnabled val="1"/>
          </dgm:varLst>
          <dgm:alg type="tx"/>
          <dgm:choose name="Name66">
            <dgm:if name="Name67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5 1" cnt="1 0"/>
            </dgm:if>
            <dgm:else name="Name68">
              <dgm:shape xmlns:r="http://schemas.openxmlformats.org/officeDocument/2006/relationships" type="ellipse" r:blip="" zOrderOff="-8">
                <dgm:adjLst/>
              </dgm:shape>
              <dgm:choose name="Name69">
                <dgm:if name="Name70" axis="ch" ptType="node" func="cnt" op="equ" val="5">
                  <dgm:presOf axis="ch desOrSelf" ptType="node node" st="1 1" cnt="1 0"/>
                </dgm:if>
                <dgm:if name="Name71" axis="ch" ptType="node" func="cnt" op="equ" val="6">
                  <dgm:presOf axis="ch desOrSelf" ptType="node node" st="2 1" cnt="1 0"/>
                </dgm:if>
                <dgm:if name="Name72" axis="ch" ptType="node" func="cnt" op="gte" val="7">
                  <dgm:presOf axis="ch desOrSelf" ptType="node node" st="3 1" cnt="1 0"/>
                </dgm:if>
                <dgm:else name="Name7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74"/>
    </dgm:choose>
    <dgm:choose name="Name75">
      <dgm:if name="Name76" axis="ch" ptType="node" func="cnt" op="gte" val="6">
        <dgm:layoutNode name="ellipse6" styleLbl="vennNode1">
          <dgm:varLst>
            <dgm:bulletEnabled val="1"/>
          </dgm:varLst>
          <dgm:alg type="tx"/>
          <dgm:choose name="Name77">
            <dgm:if name="Name7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6 1" cnt="1 0"/>
            </dgm:if>
            <dgm:else name="Name79">
              <dgm:shape xmlns:r="http://schemas.openxmlformats.org/officeDocument/2006/relationships" type="ellipse" r:blip="" zOrderOff="-10">
                <dgm:adjLst/>
              </dgm:shape>
              <dgm:choose name="Name80">
                <dgm:if name="Name81" axis="ch" ptType="node" func="cnt" op="equ" val="6">
                  <dgm:presOf axis="ch desOrSelf" ptType="node node" st="1 1" cnt="1 0"/>
                </dgm:if>
                <dgm:if name="Name82" axis="ch" ptType="node" func="cnt" op="gte" val="7">
                  <dgm:presOf axis="ch desOrSelf" ptType="node node" st="2 1" cnt="1 0"/>
                </dgm:if>
                <dgm:else name="Name83"/>
              </dgm:choose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84"/>
    </dgm:choose>
    <dgm:choose name="Name85">
      <dgm:if name="Name86" axis="ch" ptType="node" func="cnt" op="gte" val="7">
        <dgm:layoutNode name="ellipse7" styleLbl="vennNode1">
          <dgm:varLst>
            <dgm:bulletEnabled val="1"/>
          </dgm:varLst>
          <dgm:alg type="tx"/>
          <dgm:choose name="Name87">
            <dgm:if name="Name88" func="var" arg="dir" op="equ" val="norm">
              <dgm:shape xmlns:r="http://schemas.openxmlformats.org/officeDocument/2006/relationships" type="ellipse" r:blip="">
                <dgm:adjLst/>
              </dgm:shape>
              <dgm:presOf axis="ch desOrSelf" ptType="node node" st="7 1" cnt="1 0"/>
            </dgm:if>
            <dgm:else name="Name89">
              <dgm:shape xmlns:r="http://schemas.openxmlformats.org/officeDocument/2006/relationships" type="ellipse" r:blip="" zOrderOff="-12">
                <dgm:adjLst/>
              </dgm:shape>
              <dgm:presOf axis="ch desOrSelf" ptType="node node" st="1 1" cnt="1 0"/>
            </dgm:else>
          </dgm:choose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9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8329442-FE46-495D-9979-DFE050491C73}" type="datetimeFigureOut">
              <a:rPr lang="en-GB" smtClean="0"/>
              <a:t>07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D54E00-FCD5-49CE-AB43-36F8ABBF67E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329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F9735D1-4305-4E9C-B083-EE0DFC93BD88}" type="slidenum">
              <a:rPr lang="en-IE" smtClean="0"/>
              <a:t>10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5250885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57286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B83EAB-2509-4293-8AA4-2B055FD937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028700" y="1466850"/>
            <a:ext cx="3905250" cy="390525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43A3D-42D6-4D7A-A176-160CFA033D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3438525" y="762000"/>
            <a:ext cx="1771650" cy="177165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26D3E94-9746-4F33-BBDB-AD793167820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324350" y="2533650"/>
            <a:ext cx="1771650" cy="177165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13FBF24-1990-4F17-ADD2-8B1183C3BA98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438525" y="4305300"/>
            <a:ext cx="1771650" cy="177165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66027263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648200" y="1847850"/>
            <a:ext cx="2895600" cy="20574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8E0D9A36-4729-4BF4-BF57-6843DEC7711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53400" y="1847850"/>
            <a:ext cx="2895600" cy="20574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DA8AFA13-34EA-4668-9783-A3BB5319E50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143000" y="1847850"/>
            <a:ext cx="2895600" cy="20574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34995603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DA8AFA13-34EA-4668-9783-A3BB5319E50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104900" y="1905000"/>
            <a:ext cx="1924050" cy="2019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84CB4F71-27BB-4C00-82C1-279EA325839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3733800" y="1905000"/>
            <a:ext cx="1924050" cy="2019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A3C1C2C7-ECA4-4270-AD3E-72113C0C822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62700" y="1905000"/>
            <a:ext cx="1924050" cy="2019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116AC1B5-1B39-4EE9-9196-09587D42E2C2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991600" y="1905000"/>
            <a:ext cx="1924050" cy="20193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4071288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DA8AFA13-34EA-4668-9783-A3BB5319E50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0"/>
            <a:ext cx="6096000" cy="3429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0E316B9-9F08-4A6F-B7CA-2B5EDC1BDF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096000" y="3429000"/>
            <a:ext cx="6096000" cy="3429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17459129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0E316B9-9F08-4A6F-B7CA-2B5EDC1BDF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00550" y="781050"/>
            <a:ext cx="3390900" cy="52959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11616525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26D3E94-9746-4F33-BBDB-AD793167820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7505700" y="1981200"/>
            <a:ext cx="2324100" cy="23241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B83EAB-2509-4293-8AA4-2B055FD937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2362200" y="1981200"/>
            <a:ext cx="2324100" cy="23241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9918347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F0E316B9-9F08-4A6F-B7CA-2B5EDC1BDF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429000"/>
            <a:ext cx="6096000" cy="3429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C4D9600E-4744-4D2A-8CCF-B4A3E8CDB5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3429000"/>
            <a:ext cx="6096000" cy="3429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4" name="Picture Placeholder 6">
            <a:extLst>
              <a:ext uri="{FF2B5EF4-FFF2-40B4-BE49-F238E27FC236}">
                <a16:creationId xmlns:a16="http://schemas.microsoft.com/office/drawing/2014/main" id="{27D51A77-13EF-47D9-A0F6-DA398711284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096000" y="0"/>
            <a:ext cx="6096000" cy="3429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50624429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C4D9600E-4744-4D2A-8CCF-B4A3E8CDB5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44000" y="146685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0CB406E6-91CD-4C87-BCE0-27B233551A9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46685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8986CBCE-8DF4-4A1B-8AF8-59E6E08726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048000" y="146685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306F60F1-7BD7-4B85-ADBC-A4F3B71051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46685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9" name="Picture Placeholder 6">
            <a:extLst>
              <a:ext uri="{FF2B5EF4-FFF2-40B4-BE49-F238E27FC236}">
                <a16:creationId xmlns:a16="http://schemas.microsoft.com/office/drawing/2014/main" id="{529ACB22-2D8C-49DC-8D3B-5BC0803FFDC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343400" y="3981450"/>
            <a:ext cx="3505200" cy="287655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F2D474F2-AB26-4B45-978D-8D13AAB5788D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7848600" y="3981450"/>
            <a:ext cx="3505200" cy="287655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12" name="Picture Placeholder 6">
            <a:extLst>
              <a:ext uri="{FF2B5EF4-FFF2-40B4-BE49-F238E27FC236}">
                <a16:creationId xmlns:a16="http://schemas.microsoft.com/office/drawing/2014/main" id="{667381B0-D574-409E-94F2-F94CB7EA286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838200" y="3981450"/>
            <a:ext cx="3505200" cy="287655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42453150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C4D9600E-4744-4D2A-8CCF-B4A3E8CDB5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144000" y="18288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5" name="Picture Placeholder 6">
            <a:extLst>
              <a:ext uri="{FF2B5EF4-FFF2-40B4-BE49-F238E27FC236}">
                <a16:creationId xmlns:a16="http://schemas.microsoft.com/office/drawing/2014/main" id="{0CB406E6-91CD-4C87-BCE0-27B233551A9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096000" y="18288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6" name="Picture Placeholder 6">
            <a:extLst>
              <a:ext uri="{FF2B5EF4-FFF2-40B4-BE49-F238E27FC236}">
                <a16:creationId xmlns:a16="http://schemas.microsoft.com/office/drawing/2014/main" id="{8986CBCE-8DF4-4A1B-8AF8-59E6E08726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048000" y="18288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306F60F1-7BD7-4B85-ADBC-A4F3B71051CF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8288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12A26461-5C99-4D4E-B15C-EAB75ABEA6E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9144000" y="43434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13" name="Picture Placeholder 6">
            <a:extLst>
              <a:ext uri="{FF2B5EF4-FFF2-40B4-BE49-F238E27FC236}">
                <a16:creationId xmlns:a16="http://schemas.microsoft.com/office/drawing/2014/main" id="{1895EBCB-E12E-4DBC-B4F6-ADB29A9777E5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096000" y="43434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F5BE7B1C-DFA7-46A4-8DB0-619882CC3AC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048000" y="43434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EE8FFEC7-595D-430E-87DD-DEAFD5FB74E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0" y="4343400"/>
            <a:ext cx="3048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37946722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C4D9600E-4744-4D2A-8CCF-B4A3E8CDB5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2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12A26461-5C99-4D4E-B15C-EAB75ABEA6E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0" y="4343400"/>
            <a:ext cx="12192000" cy="25146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25182723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102215661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6">
            <a:extLst>
              <a:ext uri="{FF2B5EF4-FFF2-40B4-BE49-F238E27FC236}">
                <a16:creationId xmlns:a16="http://schemas.microsoft.com/office/drawing/2014/main" id="{C4D9600E-4744-4D2A-8CCF-B4A3E8CDB5B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8686800" cy="6858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11925088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437237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6332D0-5B39-4EF8-8BC6-68D302978C54}" type="datetimeFigureOut">
              <a:rPr lang="en-GB" smtClean="0"/>
              <a:t>07/06/2023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7E758DA-E0AE-43E8-B754-64095FCA27D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50625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A86E3B-6189-D946-85FC-69C1DF3B4BD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BDDA34-A14C-F3E4-C462-ECE6FC1098C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6DB39A-5A60-8B5B-184A-7A2DB32787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4224D9-7ECD-86D4-4E70-A35DA3D40D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031E62-3570-9F29-268C-409F55262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821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9D412A-F634-0693-A028-A53C574135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72B66A5-17A1-B449-9524-019EC18DA5A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C80D63-D7EF-4F04-5F58-86B91F24C6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559C5A-714B-66D9-97B2-D3E06256EF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FC909-223E-D0A9-C0CE-C23DEA7EE7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60148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DDCEFF-3B76-0707-8629-DEE68574D1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C259EFB-76A4-CC12-526C-5EADA6AED8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D2A1E3B-1693-6588-1514-6E6D924E65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744ED8-A668-6B9D-C5AD-AA39E85AF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8D5781-D09E-1D62-959E-6578140F7E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627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38ED81-A5E6-CCD2-ADDA-FCB90B2D11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67B443-7976-3768-E9E5-5D1A63E950B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8EF80F-A4D7-FE8C-025E-254771B31FA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9CDFA66-8A04-1306-12A2-A89C6F05CC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EAD33CD-5FF2-7828-5679-A65AE86E56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895CCD-C927-DE66-9A9D-3EF387D5B3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35187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B50E0B-FD5F-0AC3-0AF4-35814E9BA3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F3D798-D81C-298C-8F29-0649B0E17CE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81DB19C-F146-4E01-82B6-FFE38CCC03B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1BD0AC4-E9EF-B1D9-0C8D-58AD99F97E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7F528AF-79A4-05E2-0DEE-3D97A216011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7C7D459-0846-6A2F-881C-95D58F369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5169379-2CD9-C659-240D-A9DDF810A2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72EC3D-7ADA-CEC2-FB38-7FFABC5DEF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84027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3D9A34-6BDC-0EAC-7D1B-7F1AED1E5B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329F040-C74E-7A97-768D-1A7061DD565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599C98-521D-EA04-8A7C-AA178001EC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47E7C-B5A3-C79C-EC89-34E2E10ABE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6389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405D43-D46B-C6F9-4648-55E3355D9D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F9D1D64-5BFE-ECC1-32B0-C76985B496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87CFB0-7095-74B1-BB8F-4F9C8FABCB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3700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548882"/>
            <a:ext cx="5299788" cy="3760236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324141847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59DC22-D7AF-00D2-9CD8-37C5C10D1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3D103E-8E39-3F91-E7F7-3CB08D69084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AC4BB3-B893-EAEB-C5FB-860218C36B7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9A7DB4-1F95-4BEC-C9FE-BB265E23772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8514034-F1F1-26A6-D710-5E291395EC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773ABFE-92B0-619F-3486-8727703019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9052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D258CE-2D14-E7A2-CBC4-1F770A95B0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76EA88F-E622-70BF-166B-B13D0AF705C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A19E80-FD3C-BAB7-6C9A-8047E556158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FB90B9-FA13-3CFE-CC4D-A6E78E6E925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3C5CEB5-536F-0A87-C370-743083003B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A2A635-80A0-50C7-E914-D40ED9DA72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945270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7F6BCBD-F668-64E1-B232-BABE84789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894918-68F8-797A-D636-4743DD3D65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F33362-FCC0-A6B5-32C6-003A1F57CA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DB9429-2C05-7AC4-3AE4-F34B77692D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72B3B0-BA76-77B2-2C9E-97E871CA3F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7277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6075253-D5BA-1004-6707-0291DA3CD9D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DF9DC2-B4C2-6596-6A13-BAC9A9D0E13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BB904B-7EF5-A177-5C49-B9AD9E944B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631AFB-F32C-E785-A7C3-BF2B44ED9EB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B1180F-B370-4A59-7F5A-BB4CEF2B29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86163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33096951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userDrawn="1">
  <p:cSld name="1_Title and Content">
    <p:spTree>
      <p:nvGrpSpPr>
        <p:cNvPr id="1" name="Shape 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A9B6C0A-01E6-4B05-8FA2-AB04BA9A88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2130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A9B6C0A-01E6-4B05-8FA2-AB04BA9A88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054404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HANK YOU">
    <p:bg>
      <p:bgPr>
        <a:solidFill>
          <a:srgbClr val="008D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Placeholder 7" descr="Logo&#10;&#10;Description automatically generated">
            <a:extLst>
              <a:ext uri="{FF2B5EF4-FFF2-40B4-BE49-F238E27FC236}">
                <a16:creationId xmlns:a16="http://schemas.microsoft.com/office/drawing/2014/main" id="{26E73E30-AC7F-EABB-6E98-D34B07568B2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725" b="23725"/>
          <a:stretch>
            <a:fillRect/>
          </a:stretch>
        </p:blipFill>
        <p:spPr>
          <a:xfrm>
            <a:off x="10508456" y="130642"/>
            <a:ext cx="1620823" cy="626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5905424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4275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1116288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122363"/>
            <a:ext cx="10363200" cy="2387600"/>
          </a:xfrm>
        </p:spPr>
        <p:txBody>
          <a:bodyPr anchor="b"/>
          <a:lstStyle>
            <a:lvl1pPr algn="ctr">
              <a:defRPr sz="2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000"/>
            </a:lvl1pPr>
            <a:lvl2pPr marL="190495" indent="0" algn="ctr">
              <a:buNone/>
              <a:defRPr sz="833"/>
            </a:lvl2pPr>
            <a:lvl3pPr marL="380991" indent="0" algn="ctr">
              <a:buNone/>
              <a:defRPr sz="750"/>
            </a:lvl3pPr>
            <a:lvl4pPr marL="571486" indent="0" algn="ctr">
              <a:buNone/>
              <a:defRPr sz="667"/>
            </a:lvl4pPr>
            <a:lvl5pPr marL="761981" indent="0" algn="ctr">
              <a:buNone/>
              <a:defRPr sz="667"/>
            </a:lvl5pPr>
            <a:lvl6pPr marL="952476" indent="0" algn="ctr">
              <a:buNone/>
              <a:defRPr sz="667"/>
            </a:lvl6pPr>
            <a:lvl7pPr marL="1142972" indent="0" algn="ctr">
              <a:buNone/>
              <a:defRPr sz="667"/>
            </a:lvl7pPr>
            <a:lvl8pPr marL="1333467" indent="0" algn="ctr">
              <a:buNone/>
              <a:defRPr sz="667"/>
            </a:lvl8pPr>
            <a:lvl9pPr marL="1523962" indent="0" algn="ctr">
              <a:buNone/>
              <a:defRPr sz="667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82123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67218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28186065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2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10515600" cy="1500187"/>
          </a:xfrm>
        </p:spPr>
        <p:txBody>
          <a:bodyPr/>
          <a:lstStyle>
            <a:lvl1pPr marL="0" indent="0">
              <a:buNone/>
              <a:defRPr sz="1000">
                <a:solidFill>
                  <a:schemeClr val="tx1"/>
                </a:solidFill>
              </a:defRPr>
            </a:lvl1pPr>
            <a:lvl2pPr marL="190495" indent="0">
              <a:buNone/>
              <a:defRPr sz="833">
                <a:solidFill>
                  <a:schemeClr val="tx1">
                    <a:tint val="75000"/>
                  </a:schemeClr>
                </a:solidFill>
              </a:defRPr>
            </a:lvl2pPr>
            <a:lvl3pPr marL="380991" indent="0">
              <a:buNone/>
              <a:defRPr sz="750">
                <a:solidFill>
                  <a:schemeClr val="tx1">
                    <a:tint val="75000"/>
                  </a:schemeClr>
                </a:solidFill>
              </a:defRPr>
            </a:lvl3pPr>
            <a:lvl4pPr marL="571486" indent="0">
              <a:buNone/>
              <a:defRPr sz="667">
                <a:solidFill>
                  <a:schemeClr val="tx1">
                    <a:tint val="75000"/>
                  </a:schemeClr>
                </a:solidFill>
              </a:defRPr>
            </a:lvl4pPr>
            <a:lvl5pPr marL="761981" indent="0">
              <a:buNone/>
              <a:defRPr sz="667">
                <a:solidFill>
                  <a:schemeClr val="tx1">
                    <a:tint val="75000"/>
                  </a:schemeClr>
                </a:solidFill>
              </a:defRPr>
            </a:lvl5pPr>
            <a:lvl6pPr marL="952476" indent="0">
              <a:buNone/>
              <a:defRPr sz="667">
                <a:solidFill>
                  <a:schemeClr val="tx1">
                    <a:tint val="75000"/>
                  </a:schemeClr>
                </a:solidFill>
              </a:defRPr>
            </a:lvl6pPr>
            <a:lvl7pPr marL="1142972" indent="0">
              <a:buNone/>
              <a:defRPr sz="667">
                <a:solidFill>
                  <a:schemeClr val="tx1">
                    <a:tint val="75000"/>
                  </a:schemeClr>
                </a:solidFill>
              </a:defRPr>
            </a:lvl7pPr>
            <a:lvl8pPr marL="1333467" indent="0">
              <a:buNone/>
              <a:defRPr sz="667">
                <a:solidFill>
                  <a:schemeClr val="tx1">
                    <a:tint val="75000"/>
                  </a:schemeClr>
                </a:solidFill>
              </a:defRPr>
            </a:lvl8pPr>
            <a:lvl9pPr marL="1523962" indent="0">
              <a:buNone/>
              <a:defRPr sz="6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8115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456812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7" cy="823912"/>
          </a:xfrm>
        </p:spPr>
        <p:txBody>
          <a:bodyPr anchor="b"/>
          <a:lstStyle>
            <a:lvl1pPr marL="0" indent="0">
              <a:buNone/>
              <a:defRPr sz="1000" b="1"/>
            </a:lvl1pPr>
            <a:lvl2pPr marL="190495" indent="0">
              <a:buNone/>
              <a:defRPr sz="833" b="1"/>
            </a:lvl2pPr>
            <a:lvl3pPr marL="380991" indent="0">
              <a:buNone/>
              <a:defRPr sz="750" b="1"/>
            </a:lvl3pPr>
            <a:lvl4pPr marL="571486" indent="0">
              <a:buNone/>
              <a:defRPr sz="667" b="1"/>
            </a:lvl4pPr>
            <a:lvl5pPr marL="761981" indent="0">
              <a:buNone/>
              <a:defRPr sz="667" b="1"/>
            </a:lvl5pPr>
            <a:lvl6pPr marL="952476" indent="0">
              <a:buNone/>
              <a:defRPr sz="667" b="1"/>
            </a:lvl6pPr>
            <a:lvl7pPr marL="1142972" indent="0">
              <a:buNone/>
              <a:defRPr sz="667" b="1"/>
            </a:lvl7pPr>
            <a:lvl8pPr marL="1333467" indent="0">
              <a:buNone/>
              <a:defRPr sz="667" b="1"/>
            </a:lvl8pPr>
            <a:lvl9pPr marL="1523962" indent="0">
              <a:buNone/>
              <a:defRPr sz="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90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1000" b="1"/>
            </a:lvl1pPr>
            <a:lvl2pPr marL="190495" indent="0">
              <a:buNone/>
              <a:defRPr sz="833" b="1"/>
            </a:lvl2pPr>
            <a:lvl3pPr marL="380991" indent="0">
              <a:buNone/>
              <a:defRPr sz="750" b="1"/>
            </a:lvl3pPr>
            <a:lvl4pPr marL="571486" indent="0">
              <a:buNone/>
              <a:defRPr sz="667" b="1"/>
            </a:lvl4pPr>
            <a:lvl5pPr marL="761981" indent="0">
              <a:buNone/>
              <a:defRPr sz="667" b="1"/>
            </a:lvl5pPr>
            <a:lvl6pPr marL="952476" indent="0">
              <a:buNone/>
              <a:defRPr sz="667" b="1"/>
            </a:lvl6pPr>
            <a:lvl7pPr marL="1142972" indent="0">
              <a:buNone/>
              <a:defRPr sz="667" b="1"/>
            </a:lvl7pPr>
            <a:lvl8pPr marL="1333467" indent="0">
              <a:buNone/>
              <a:defRPr sz="667" b="1"/>
            </a:lvl8pPr>
            <a:lvl9pPr marL="1523962" indent="0">
              <a:buNone/>
              <a:defRPr sz="6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540417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278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6640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13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7"/>
            <a:ext cx="6172200" cy="4873625"/>
          </a:xfrm>
        </p:spPr>
        <p:txBody>
          <a:bodyPr/>
          <a:lstStyle>
            <a:lvl1pPr>
              <a:defRPr sz="1333"/>
            </a:lvl1pPr>
            <a:lvl2pPr>
              <a:defRPr sz="1167"/>
            </a:lvl2pPr>
            <a:lvl3pPr>
              <a:defRPr sz="1000"/>
            </a:lvl3pPr>
            <a:lvl4pPr>
              <a:defRPr sz="833"/>
            </a:lvl4pPr>
            <a:lvl5pPr>
              <a:defRPr sz="833"/>
            </a:lvl5pPr>
            <a:lvl6pPr>
              <a:defRPr sz="833"/>
            </a:lvl6pPr>
            <a:lvl7pPr>
              <a:defRPr sz="833"/>
            </a:lvl7pPr>
            <a:lvl8pPr>
              <a:defRPr sz="833"/>
            </a:lvl8pPr>
            <a:lvl9pPr>
              <a:defRPr sz="8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667"/>
            </a:lvl1pPr>
            <a:lvl2pPr marL="190495" indent="0">
              <a:buNone/>
              <a:defRPr sz="583"/>
            </a:lvl2pPr>
            <a:lvl3pPr marL="380991" indent="0">
              <a:buNone/>
              <a:defRPr sz="500"/>
            </a:lvl3pPr>
            <a:lvl4pPr marL="571486" indent="0">
              <a:buNone/>
              <a:defRPr sz="417"/>
            </a:lvl4pPr>
            <a:lvl5pPr marL="761981" indent="0">
              <a:buNone/>
              <a:defRPr sz="417"/>
            </a:lvl5pPr>
            <a:lvl6pPr marL="952476" indent="0">
              <a:buNone/>
              <a:defRPr sz="417"/>
            </a:lvl6pPr>
            <a:lvl7pPr marL="1142972" indent="0">
              <a:buNone/>
              <a:defRPr sz="417"/>
            </a:lvl7pPr>
            <a:lvl8pPr marL="1333467" indent="0">
              <a:buNone/>
              <a:defRPr sz="417"/>
            </a:lvl8pPr>
            <a:lvl9pPr marL="1523962" indent="0">
              <a:buNone/>
              <a:defRPr sz="41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025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1333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7"/>
            <a:ext cx="6172200" cy="4873625"/>
          </a:xfrm>
        </p:spPr>
        <p:txBody>
          <a:bodyPr anchor="t"/>
          <a:lstStyle>
            <a:lvl1pPr marL="0" indent="0">
              <a:buNone/>
              <a:defRPr sz="1333"/>
            </a:lvl1pPr>
            <a:lvl2pPr marL="190495" indent="0">
              <a:buNone/>
              <a:defRPr sz="1167"/>
            </a:lvl2pPr>
            <a:lvl3pPr marL="380991" indent="0">
              <a:buNone/>
              <a:defRPr sz="1000"/>
            </a:lvl3pPr>
            <a:lvl4pPr marL="571486" indent="0">
              <a:buNone/>
              <a:defRPr sz="833"/>
            </a:lvl4pPr>
            <a:lvl5pPr marL="761981" indent="0">
              <a:buNone/>
              <a:defRPr sz="833"/>
            </a:lvl5pPr>
            <a:lvl6pPr marL="952476" indent="0">
              <a:buNone/>
              <a:defRPr sz="833"/>
            </a:lvl6pPr>
            <a:lvl7pPr marL="1142972" indent="0">
              <a:buNone/>
              <a:defRPr sz="833"/>
            </a:lvl7pPr>
            <a:lvl8pPr marL="1333467" indent="0">
              <a:buNone/>
              <a:defRPr sz="833"/>
            </a:lvl8pPr>
            <a:lvl9pPr marL="1523962" indent="0">
              <a:buNone/>
              <a:defRPr sz="833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667"/>
            </a:lvl1pPr>
            <a:lvl2pPr marL="190495" indent="0">
              <a:buNone/>
              <a:defRPr sz="583"/>
            </a:lvl2pPr>
            <a:lvl3pPr marL="380991" indent="0">
              <a:buNone/>
              <a:defRPr sz="500"/>
            </a:lvl3pPr>
            <a:lvl4pPr marL="571486" indent="0">
              <a:buNone/>
              <a:defRPr sz="417"/>
            </a:lvl4pPr>
            <a:lvl5pPr marL="761981" indent="0">
              <a:buNone/>
              <a:defRPr sz="417"/>
            </a:lvl5pPr>
            <a:lvl6pPr marL="952476" indent="0">
              <a:buNone/>
              <a:defRPr sz="417"/>
            </a:lvl6pPr>
            <a:lvl7pPr marL="1142972" indent="0">
              <a:buNone/>
              <a:defRPr sz="417"/>
            </a:lvl7pPr>
            <a:lvl8pPr marL="1333467" indent="0">
              <a:buNone/>
              <a:defRPr sz="417"/>
            </a:lvl8pPr>
            <a:lvl9pPr marL="1523962" indent="0">
              <a:buNone/>
              <a:defRPr sz="417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82818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28670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15866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209722" y="0"/>
            <a:ext cx="3982278" cy="6858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24640286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3429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42293729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240696" y="0"/>
            <a:ext cx="3710608" cy="6858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2478734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CE68AC4-931B-40F0-8E58-96E8A631CFF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0"/>
            <a:ext cx="6096000" cy="3429000"/>
          </a:xfr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anchor="ctr">
            <a:norm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31681144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FC43A3D-42D6-4D7A-A176-160CFA033DF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933950" y="1981200"/>
            <a:ext cx="2324100" cy="23241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D26D3E94-9746-4F33-BBDB-AD793167820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115300" y="1981200"/>
            <a:ext cx="2324100" cy="23241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EB83EAB-2509-4293-8AA4-2B055FD937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752600" y="1981200"/>
            <a:ext cx="2324100" cy="2324100"/>
          </a:xfrm>
          <a:custGeom>
            <a:avLst/>
            <a:gdLst>
              <a:gd name="connsiteX0" fmla="*/ 457200 w 914400"/>
              <a:gd name="connsiteY0" fmla="*/ 0 h 914400"/>
              <a:gd name="connsiteX1" fmla="*/ 914400 w 914400"/>
              <a:gd name="connsiteY1" fmla="*/ 457200 h 914400"/>
              <a:gd name="connsiteX2" fmla="*/ 457200 w 914400"/>
              <a:gd name="connsiteY2" fmla="*/ 914400 h 914400"/>
              <a:gd name="connsiteX3" fmla="*/ 0 w 914400"/>
              <a:gd name="connsiteY3" fmla="*/ 457200 h 914400"/>
              <a:gd name="connsiteX4" fmla="*/ 457200 w 914400"/>
              <a:gd name="connsiteY4" fmla="*/ 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14400" h="914400">
                <a:moveTo>
                  <a:pt x="457200" y="0"/>
                </a:moveTo>
                <a:cubicBezTo>
                  <a:pt x="709705" y="0"/>
                  <a:pt x="914400" y="204695"/>
                  <a:pt x="914400" y="457200"/>
                </a:cubicBezTo>
                <a:cubicBezTo>
                  <a:pt x="914400" y="709705"/>
                  <a:pt x="709705" y="914400"/>
                  <a:pt x="457200" y="914400"/>
                </a:cubicBezTo>
                <a:cubicBezTo>
                  <a:pt x="204695" y="914400"/>
                  <a:pt x="0" y="709705"/>
                  <a:pt x="0" y="457200"/>
                </a:cubicBezTo>
                <a:cubicBezTo>
                  <a:pt x="0" y="204695"/>
                  <a:pt x="204695" y="0"/>
                  <a:pt x="457200" y="0"/>
                </a:cubicBezTo>
                <a:close/>
              </a:path>
            </a:pathLst>
          </a:custGeom>
          <a:pattFill prst="pct20">
            <a:fgClr>
              <a:schemeClr val="accent1"/>
            </a:fgClr>
            <a:bgClr>
              <a:schemeClr val="bg1"/>
            </a:bgClr>
          </a:pattFill>
        </p:spPr>
        <p:txBody>
          <a:bodyPr wrap="square" anchor="ctr">
            <a:noAutofit/>
          </a:bodyPr>
          <a:lstStyle>
            <a:lvl1pPr marL="0" indent="0" algn="ctr">
              <a:buNone/>
              <a:defRPr sz="1800"/>
            </a:lvl1pPr>
          </a:lstStyle>
          <a:p>
            <a:r>
              <a:rPr lang="en-US" dirty="0"/>
              <a:t>Drag and Drop your picture here</a:t>
            </a:r>
          </a:p>
        </p:txBody>
      </p:sp>
    </p:spTree>
    <p:extLst>
      <p:ext uri="{BB962C8B-B14F-4D97-AF65-F5344CB8AC3E}">
        <p14:creationId xmlns:p14="http://schemas.microsoft.com/office/powerpoint/2010/main" val="3404593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D0072CD-9043-4E68-B268-F65E41B171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9E8A77-8127-4986-A5EC-8CEF10F410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2210EB-4192-434B-8C9D-0475F23E04B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856938C-0F74-4C66-8A5F-D4B9E4B9BBA8}" type="datetimeFigureOut">
              <a:rPr lang="en-US" smtClean="0"/>
              <a:t>6/7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1C8D9D-1DE7-4F87-AFFD-A3D10EEFCC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9BB061-B068-4C3A-B442-610C507348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DF82FAA-A2BF-45DE-8144-A32C029355A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930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40" r:id="rId7"/>
    <p:sldLayoutId id="2147483739" r:id="rId8"/>
    <p:sldLayoutId id="2147483663" r:id="rId9"/>
    <p:sldLayoutId id="2147483664" r:id="rId10"/>
    <p:sldLayoutId id="2147483665" r:id="rId11"/>
    <p:sldLayoutId id="2147483666" r:id="rId12"/>
    <p:sldLayoutId id="2147483667" r:id="rId13"/>
    <p:sldLayoutId id="2147483668" r:id="rId14"/>
    <p:sldLayoutId id="2147483669" r:id="rId15"/>
    <p:sldLayoutId id="2147483670" r:id="rId16"/>
    <p:sldLayoutId id="2147483671" r:id="rId17"/>
    <p:sldLayoutId id="2147483741" r:id="rId18"/>
    <p:sldLayoutId id="2147483742" r:id="rId19"/>
    <p:sldLayoutId id="2147483743" r:id="rId20"/>
    <p:sldLayoutId id="2147483744" r:id="rId21"/>
    <p:sldLayoutId id="2147483746" r:id="rId2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1663C5A-DC1E-DF33-B34F-FA434E419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214160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32" imgH="533" progId="TCLayout.ActiveDocument.1">
                  <p:embed/>
                </p:oleObj>
              </mc:Choice>
              <mc:Fallback>
                <p:oleObj name="think-cell Slide" r:id="rId18" imgW="532" imgH="53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1663C5A-DC1E-DF33-B34F-FA434E419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26C788-D768-B98B-E450-E91F277E02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A46412-679D-9524-F626-DB8F2C30CE8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8E0921-9AE3-7CCC-01F7-1E15063B93C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3DD9BF-69C0-429C-9ADE-DA00B309E91D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E153338-BD66-B6B2-EFE0-BC824B5D37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36EA7D-3676-611C-35F1-4E35375939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181BBB-A02D-4DB1-B274-046700580D7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206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731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25D0346-5C9F-BA41-A715-5C675AA3FC6F}" type="datetimeFigureOut">
              <a:rPr lang="en-US" smtClean="0"/>
              <a:t>6/8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5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18F140B-CCDF-3D41-A839-2787944D5BD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53570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380991" rtl="0" eaLnBrk="1" latinLnBrk="0" hangingPunct="1">
        <a:lnSpc>
          <a:spcPct val="90000"/>
        </a:lnSpc>
        <a:spcBef>
          <a:spcPct val="0"/>
        </a:spcBef>
        <a:buNone/>
        <a:defRPr sz="18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5248" indent="-95248" algn="l" defTabSz="380991" rtl="0" eaLnBrk="1" latinLnBrk="0" hangingPunct="1">
        <a:lnSpc>
          <a:spcPct val="90000"/>
        </a:lnSpc>
        <a:spcBef>
          <a:spcPts val="417"/>
        </a:spcBef>
        <a:buFont typeface="Arial" panose="020B0604020202020204" pitchFamily="34" charset="0"/>
        <a:buChar char="•"/>
        <a:defRPr sz="1167" kern="1200">
          <a:solidFill>
            <a:schemeClr val="tx1"/>
          </a:solidFill>
          <a:latin typeface="+mn-lt"/>
          <a:ea typeface="+mn-ea"/>
          <a:cs typeface="+mn-cs"/>
        </a:defRPr>
      </a:lvl1pPr>
      <a:lvl2pPr marL="285743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476238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833" kern="1200">
          <a:solidFill>
            <a:schemeClr val="tx1"/>
          </a:solidFill>
          <a:latin typeface="+mn-lt"/>
          <a:ea typeface="+mn-ea"/>
          <a:cs typeface="+mn-cs"/>
        </a:defRPr>
      </a:lvl3pPr>
      <a:lvl4pPr marL="666733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57228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1047724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6pPr>
      <a:lvl7pPr marL="1238219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1428714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8pPr>
      <a:lvl9pPr marL="1619209" indent="-95248" algn="l" defTabSz="380991" rtl="0" eaLnBrk="1" latinLnBrk="0" hangingPunct="1">
        <a:lnSpc>
          <a:spcPct val="90000"/>
        </a:lnSpc>
        <a:spcBef>
          <a:spcPts val="208"/>
        </a:spcBef>
        <a:buFont typeface="Arial" panose="020B0604020202020204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1pPr>
      <a:lvl2pPr marL="190495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2pPr>
      <a:lvl3pPr marL="380991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3pPr>
      <a:lvl4pPr marL="571486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761981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5pPr>
      <a:lvl6pPr marL="952476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6pPr>
      <a:lvl7pPr marL="1142972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1333467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8pPr>
      <a:lvl9pPr marL="1523962" algn="l" defTabSz="380991" rtl="0" eaLnBrk="1" latinLnBrk="0" hangingPunct="1">
        <a:defRPr sz="7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5.svg"/><Relationship Id="rId2" Type="http://schemas.openxmlformats.org/officeDocument/2006/relationships/slideLayout" Target="../slideLayouts/slideLayout23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10" Type="http://schemas.openxmlformats.org/officeDocument/2006/relationships/image" Target="../media/image30.png"/><Relationship Id="rId4" Type="http://schemas.openxmlformats.org/officeDocument/2006/relationships/image" Target="../media/image24.png"/><Relationship Id="rId9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2.png"/><Relationship Id="rId18" Type="http://schemas.microsoft.com/office/2007/relationships/hdphoto" Target="../media/hdphoto7.wdp"/><Relationship Id="rId26" Type="http://schemas.microsoft.com/office/2007/relationships/hdphoto" Target="../media/hdphoto11.wdp"/><Relationship Id="rId3" Type="http://schemas.openxmlformats.org/officeDocument/2006/relationships/oleObject" Target="../embeddings/oleObject5.bin"/><Relationship Id="rId21" Type="http://schemas.openxmlformats.org/officeDocument/2006/relationships/image" Target="../media/image16.png"/><Relationship Id="rId7" Type="http://schemas.openxmlformats.org/officeDocument/2006/relationships/image" Target="../media/image9.png"/><Relationship Id="rId12" Type="http://schemas.microsoft.com/office/2007/relationships/hdphoto" Target="../media/hdphoto4.wdp"/><Relationship Id="rId17" Type="http://schemas.openxmlformats.org/officeDocument/2006/relationships/image" Target="../media/image14.png"/><Relationship Id="rId25" Type="http://schemas.openxmlformats.org/officeDocument/2006/relationships/image" Target="../media/image18.png"/><Relationship Id="rId2" Type="http://schemas.openxmlformats.org/officeDocument/2006/relationships/slideLayout" Target="../slideLayouts/slideLayout23.xml"/><Relationship Id="rId16" Type="http://schemas.microsoft.com/office/2007/relationships/hdphoto" Target="../media/hdphoto6.wdp"/><Relationship Id="rId20" Type="http://schemas.microsoft.com/office/2007/relationships/hdphoto" Target="../media/hdphoto8.wdp"/><Relationship Id="rId1" Type="http://schemas.openxmlformats.org/officeDocument/2006/relationships/tags" Target="../tags/tag5.xml"/><Relationship Id="rId6" Type="http://schemas.microsoft.com/office/2007/relationships/hdphoto" Target="../media/hdphoto1.wdp"/><Relationship Id="rId11" Type="http://schemas.openxmlformats.org/officeDocument/2006/relationships/image" Target="../media/image11.png"/><Relationship Id="rId24" Type="http://schemas.microsoft.com/office/2007/relationships/hdphoto" Target="../media/hdphoto10.wdp"/><Relationship Id="rId5" Type="http://schemas.openxmlformats.org/officeDocument/2006/relationships/image" Target="../media/image8.png"/><Relationship Id="rId15" Type="http://schemas.openxmlformats.org/officeDocument/2006/relationships/image" Target="../media/image13.png"/><Relationship Id="rId23" Type="http://schemas.openxmlformats.org/officeDocument/2006/relationships/image" Target="../media/image17.png"/><Relationship Id="rId28" Type="http://schemas.microsoft.com/office/2007/relationships/hdphoto" Target="../media/hdphoto12.wdp"/><Relationship Id="rId10" Type="http://schemas.microsoft.com/office/2007/relationships/hdphoto" Target="../media/hdphoto3.wdp"/><Relationship Id="rId19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10.png"/><Relationship Id="rId14" Type="http://schemas.microsoft.com/office/2007/relationships/hdphoto" Target="../media/hdphoto5.wdp"/><Relationship Id="rId22" Type="http://schemas.microsoft.com/office/2007/relationships/hdphoto" Target="../media/hdphoto9.wdp"/><Relationship Id="rId27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waltronic.net" TargetMode="External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1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6.xml"/><Relationship Id="rId6" Type="http://schemas.openxmlformats.org/officeDocument/2006/relationships/hyperlink" Target="mailto:eli@carbongap.org" TargetMode="External"/><Relationship Id="rId5" Type="http://schemas.openxmlformats.org/officeDocument/2006/relationships/hyperlink" Target="mailto:mark@bellona.org" TargetMode="Externa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12.png"/><Relationship Id="rId18" Type="http://schemas.microsoft.com/office/2007/relationships/hdphoto" Target="../media/hdphoto7.wdp"/><Relationship Id="rId26" Type="http://schemas.microsoft.com/office/2007/relationships/hdphoto" Target="../media/hdphoto11.wdp"/><Relationship Id="rId3" Type="http://schemas.openxmlformats.org/officeDocument/2006/relationships/oleObject" Target="../embeddings/oleObject4.bin"/><Relationship Id="rId21" Type="http://schemas.openxmlformats.org/officeDocument/2006/relationships/image" Target="../media/image16.png"/><Relationship Id="rId7" Type="http://schemas.openxmlformats.org/officeDocument/2006/relationships/image" Target="../media/image9.png"/><Relationship Id="rId12" Type="http://schemas.microsoft.com/office/2007/relationships/hdphoto" Target="../media/hdphoto4.wdp"/><Relationship Id="rId17" Type="http://schemas.openxmlformats.org/officeDocument/2006/relationships/image" Target="../media/image14.png"/><Relationship Id="rId25" Type="http://schemas.openxmlformats.org/officeDocument/2006/relationships/image" Target="../media/image18.png"/><Relationship Id="rId2" Type="http://schemas.openxmlformats.org/officeDocument/2006/relationships/slideLayout" Target="../slideLayouts/slideLayout23.xml"/><Relationship Id="rId16" Type="http://schemas.microsoft.com/office/2007/relationships/hdphoto" Target="../media/hdphoto6.wdp"/><Relationship Id="rId20" Type="http://schemas.microsoft.com/office/2007/relationships/hdphoto" Target="../media/hdphoto8.wdp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11" Type="http://schemas.openxmlformats.org/officeDocument/2006/relationships/image" Target="../media/image11.png"/><Relationship Id="rId24" Type="http://schemas.microsoft.com/office/2007/relationships/hdphoto" Target="../media/hdphoto10.wdp"/><Relationship Id="rId5" Type="http://schemas.openxmlformats.org/officeDocument/2006/relationships/image" Target="../media/image8.png"/><Relationship Id="rId15" Type="http://schemas.openxmlformats.org/officeDocument/2006/relationships/image" Target="../media/image13.png"/><Relationship Id="rId23" Type="http://schemas.openxmlformats.org/officeDocument/2006/relationships/image" Target="../media/image17.png"/><Relationship Id="rId28" Type="http://schemas.microsoft.com/office/2007/relationships/hdphoto" Target="../media/hdphoto12.wdp"/><Relationship Id="rId10" Type="http://schemas.microsoft.com/office/2007/relationships/hdphoto" Target="../media/hdphoto3.wdp"/><Relationship Id="rId19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10.png"/><Relationship Id="rId14" Type="http://schemas.microsoft.com/office/2007/relationships/hdphoto" Target="../media/hdphoto5.wdp"/><Relationship Id="rId22" Type="http://schemas.microsoft.com/office/2007/relationships/hdphoto" Target="../media/hdphoto9.wdp"/><Relationship Id="rId27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EB41D2-7D37-1730-62EE-0D19EC9C8F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15504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EB41D2-7D37-1730-62EE-0D19EC9C8F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>
            <a:extLst>
              <a:ext uri="{FF2B5EF4-FFF2-40B4-BE49-F238E27FC236}">
                <a16:creationId xmlns:a16="http://schemas.microsoft.com/office/drawing/2014/main" id="{53995420-C945-A23E-BDED-C6461517304C}"/>
              </a:ext>
            </a:extLst>
          </p:cNvPr>
          <p:cNvSpPr/>
          <p:nvPr/>
        </p:nvSpPr>
        <p:spPr>
          <a:xfrm>
            <a:off x="257175" y="174171"/>
            <a:ext cx="6089162" cy="6858000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100000">
                <a:schemeClr val="accent1">
                  <a:lumMod val="30000"/>
                  <a:lumOff val="70000"/>
                  <a:alpha val="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D77E2C4-4C68-FCA7-B863-F9A541406DD2}"/>
              </a:ext>
            </a:extLst>
          </p:cNvPr>
          <p:cNvSpPr/>
          <p:nvPr/>
        </p:nvSpPr>
        <p:spPr>
          <a:xfrm>
            <a:off x="6127119" y="0"/>
            <a:ext cx="6089162" cy="6858000"/>
          </a:xfrm>
          <a:prstGeom prst="rect">
            <a:avLst/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7" name="Picture 26" descr="A picture containing mountain, nature, outdoor, rock&#10;&#10;Description automatically generated">
            <a:extLst>
              <a:ext uri="{FF2B5EF4-FFF2-40B4-BE49-F238E27FC236}">
                <a16:creationId xmlns:a16="http://schemas.microsoft.com/office/drawing/2014/main" id="{19B286E8-47EE-65DC-369A-7DDD6D603FC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8" r="-423" b="28122"/>
          <a:stretch/>
        </p:blipFill>
        <p:spPr>
          <a:xfrm>
            <a:off x="-383884" y="6590"/>
            <a:ext cx="6531965" cy="7014678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5015C83D-BCAA-0861-A411-BF2DA7BB2A3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305175" y="-553107"/>
            <a:ext cx="2880222" cy="2119312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1A66155A-A995-9471-BD92-0426001A8296}"/>
              </a:ext>
            </a:extLst>
          </p:cNvPr>
          <p:cNvSpPr/>
          <p:nvPr/>
        </p:nvSpPr>
        <p:spPr>
          <a:xfrm>
            <a:off x="4697543" y="3453529"/>
            <a:ext cx="1429576" cy="1215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B4EFDC1-73DC-CAD7-9113-D26BFC12E299}"/>
              </a:ext>
            </a:extLst>
          </p:cNvPr>
          <p:cNvSpPr/>
          <p:nvPr/>
        </p:nvSpPr>
        <p:spPr>
          <a:xfrm>
            <a:off x="6127119" y="2893483"/>
            <a:ext cx="5525481" cy="5561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FA89570-F149-02C5-7958-7BE1004E8617}"/>
              </a:ext>
            </a:extLst>
          </p:cNvPr>
          <p:cNvSpPr txBox="1"/>
          <p:nvPr/>
        </p:nvSpPr>
        <p:spPr>
          <a:xfrm>
            <a:off x="6135817" y="3449613"/>
            <a:ext cx="5322757" cy="52322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800" b="1">
                <a:solidFill>
                  <a:schemeClr val="bg1"/>
                </a:solidFill>
                <a:latin typeface="Poppins"/>
                <a:cs typeface="Poppins"/>
              </a:rPr>
              <a:t>CARBON REMOVAL:</a:t>
            </a:r>
            <a:endParaRPr lang="en-US">
              <a:solidFill>
                <a:schemeClr val="bg1"/>
              </a:solidFill>
              <a:latin typeface="Poppins"/>
              <a:cs typeface="Poppin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09E155E-9C64-A6E7-5436-64BC7B1A7FE1}"/>
              </a:ext>
            </a:extLst>
          </p:cNvPr>
          <p:cNvSpPr txBox="1"/>
          <p:nvPr/>
        </p:nvSpPr>
        <p:spPr>
          <a:xfrm>
            <a:off x="6162198" y="3977945"/>
            <a:ext cx="5525481" cy="40011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Poppins"/>
                <a:cs typeface="Poppins"/>
              </a:rPr>
              <a:t>The What, the Why, and the How</a:t>
            </a:r>
            <a:endParaRPr lang="en-US" sz="2000">
              <a:solidFill>
                <a:schemeClr val="bg1"/>
              </a:solidFill>
              <a:cs typeface="Calibri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AAB2FD8B-88D2-C545-0EDB-779B5AED7E22}"/>
              </a:ext>
            </a:extLst>
          </p:cNvPr>
          <p:cNvSpPr txBox="1"/>
          <p:nvPr/>
        </p:nvSpPr>
        <p:spPr>
          <a:xfrm>
            <a:off x="6149172" y="5051288"/>
            <a:ext cx="5525481" cy="175432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solidFill>
                  <a:schemeClr val="bg1"/>
                </a:solidFill>
                <a:latin typeface="Poppins"/>
                <a:cs typeface="Poppins"/>
              </a:rPr>
              <a:t>Mark Preston</a:t>
            </a:r>
            <a:endParaRPr lang="en-US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n-US">
                <a:solidFill>
                  <a:schemeClr val="bg1"/>
                </a:solidFill>
                <a:latin typeface="Poppins"/>
                <a:cs typeface="Poppins"/>
              </a:rPr>
              <a:t>Eli Mitchell-Larson</a:t>
            </a:r>
          </a:p>
          <a:p>
            <a:endParaRPr lang="en-US">
              <a:solidFill>
                <a:schemeClr val="bg1"/>
              </a:solidFill>
              <a:latin typeface="Poppins"/>
              <a:cs typeface="Poppins"/>
            </a:endParaRPr>
          </a:p>
          <a:p>
            <a:r>
              <a:rPr lang="en-US">
                <a:solidFill>
                  <a:schemeClr val="bg1"/>
                </a:solidFill>
                <a:latin typeface="Poppins"/>
                <a:cs typeface="Poppins"/>
              </a:rPr>
              <a:t>Negative Emissions Platform: </a:t>
            </a:r>
          </a:p>
          <a:p>
            <a:r>
              <a:rPr lang="en-US">
                <a:solidFill>
                  <a:schemeClr val="bg1"/>
                </a:solidFill>
                <a:latin typeface="Poppins"/>
                <a:cs typeface="Poppins"/>
              </a:rPr>
              <a:t>Carbon Removal Summit</a:t>
            </a:r>
            <a:endParaRPr lang="en-US">
              <a:solidFill>
                <a:schemeClr val="bg1"/>
              </a:solidFill>
            </a:endParaRPr>
          </a:p>
          <a:p>
            <a:r>
              <a:rPr lang="en-US">
                <a:solidFill>
                  <a:schemeClr val="bg1"/>
                </a:solidFill>
                <a:latin typeface="Poppins"/>
                <a:cs typeface="Poppins"/>
              </a:rPr>
              <a:t>June 2023</a:t>
            </a:r>
            <a:endParaRPr lang="en-US">
              <a:solidFill>
                <a:schemeClr val="bg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3C506B84-BC27-FFA0-46BD-353127B28D8F}"/>
              </a:ext>
            </a:extLst>
          </p:cNvPr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3674" y="92814"/>
            <a:ext cx="2382827" cy="1107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0380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Rectangle 72">
            <a:extLst>
              <a:ext uri="{FF2B5EF4-FFF2-40B4-BE49-F238E27FC236}">
                <a16:creationId xmlns:a16="http://schemas.microsoft.com/office/drawing/2014/main" id="{C2AD36BE-C696-4922-9571-B21CF50479B3}"/>
              </a:ext>
            </a:extLst>
          </p:cNvPr>
          <p:cNvSpPr/>
          <p:nvPr/>
        </p:nvSpPr>
        <p:spPr>
          <a:xfrm>
            <a:off x="381863" y="2282998"/>
            <a:ext cx="3530009" cy="96869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600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4D8308FD-4E2D-4F25-857F-B5EDE6642238}"/>
              </a:ext>
            </a:extLst>
          </p:cNvPr>
          <p:cNvSpPr/>
          <p:nvPr/>
        </p:nvSpPr>
        <p:spPr>
          <a:xfrm flipV="1">
            <a:off x="381863" y="5191404"/>
            <a:ext cx="3530009" cy="96869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600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cs typeface="Arial" panose="020B0604020202020204" pitchFamily="34" charset="0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id="{97F391E2-4E55-4AAC-B39A-893718741E6A}"/>
              </a:ext>
            </a:extLst>
          </p:cNvPr>
          <p:cNvSpPr txBox="1"/>
          <p:nvPr/>
        </p:nvSpPr>
        <p:spPr>
          <a:xfrm>
            <a:off x="2415959" y="4300574"/>
            <a:ext cx="171033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cs typeface="Arial" panose="020B0604020202020204" pitchFamily="34" charset="0"/>
              </a:rPr>
              <a:t>CCU fuel use</a:t>
            </a: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6C3F275E-880A-48C7-8930-32A5BAF7540F}"/>
              </a:ext>
            </a:extLst>
          </p:cNvPr>
          <p:cNvSpPr/>
          <p:nvPr/>
        </p:nvSpPr>
        <p:spPr>
          <a:xfrm>
            <a:off x="3002688" y="2527603"/>
            <a:ext cx="615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lang="en-GB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609ACA5D-B1A5-4FDC-B74E-85001009B216}"/>
              </a:ext>
            </a:extLst>
          </p:cNvPr>
          <p:cNvCxnSpPr/>
          <p:nvPr/>
        </p:nvCxnSpPr>
        <p:spPr>
          <a:xfrm>
            <a:off x="381863" y="3243385"/>
            <a:ext cx="3530009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0835E45F-0644-49AB-A8C1-035AAC54BB53}"/>
              </a:ext>
            </a:extLst>
          </p:cNvPr>
          <p:cNvCxnSpPr/>
          <p:nvPr/>
        </p:nvCxnSpPr>
        <p:spPr>
          <a:xfrm>
            <a:off x="381863" y="5184594"/>
            <a:ext cx="3530009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Picture 78">
            <a:extLst>
              <a:ext uri="{FF2B5EF4-FFF2-40B4-BE49-F238E27FC236}">
                <a16:creationId xmlns:a16="http://schemas.microsoft.com/office/drawing/2014/main" id="{DAAB6DBA-B4C4-4DFA-95D3-CAEA3382CFE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5" t="13950" r="18519" b="27778"/>
          <a:stretch/>
        </p:blipFill>
        <p:spPr>
          <a:xfrm>
            <a:off x="956501" y="3772434"/>
            <a:ext cx="602335" cy="556365"/>
          </a:xfrm>
          <a:prstGeom prst="rect">
            <a:avLst/>
          </a:prstGeom>
        </p:spPr>
      </p:pic>
      <p:sp>
        <p:nvSpPr>
          <p:cNvPr id="80" name="Rectangle 79">
            <a:extLst>
              <a:ext uri="{FF2B5EF4-FFF2-40B4-BE49-F238E27FC236}">
                <a16:creationId xmlns:a16="http://schemas.microsoft.com/office/drawing/2014/main" id="{D90EC9A9-6E04-431E-8014-519162A8641F}"/>
              </a:ext>
            </a:extLst>
          </p:cNvPr>
          <p:cNvSpPr/>
          <p:nvPr/>
        </p:nvSpPr>
        <p:spPr>
          <a:xfrm>
            <a:off x="2082169" y="5091561"/>
            <a:ext cx="18273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600" baseline="-25000" dirty="0">
                <a:cs typeface="Arial" panose="020B0604020202020204" pitchFamily="34" charset="0"/>
              </a:rPr>
              <a:t>Permanent geological storage</a:t>
            </a:r>
            <a:endParaRPr lang="en-GB" sz="1600" dirty="0">
              <a:cs typeface="Arial" panose="020B0604020202020204" pitchFamily="34" charset="0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3DC2CB89-CF26-4D9A-B92E-665FC9CDA9E2}"/>
              </a:ext>
            </a:extLst>
          </p:cNvPr>
          <p:cNvSpPr/>
          <p:nvPr/>
        </p:nvSpPr>
        <p:spPr>
          <a:xfrm>
            <a:off x="365501" y="2892768"/>
            <a:ext cx="8654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600" baseline="-25000" dirty="0">
                <a:solidFill>
                  <a:srgbClr val="0070C0"/>
                </a:solidFill>
                <a:cs typeface="Arial" panose="020B0604020202020204" pitchFamily="34" charset="0"/>
              </a:rPr>
              <a:t>Atmosphere</a:t>
            </a:r>
            <a:endParaRPr lang="en-GB" sz="1600" dirty="0">
              <a:solidFill>
                <a:srgbClr val="0070C0"/>
              </a:solidFill>
              <a:cs typeface="Arial" panose="020B0604020202020204" pitchFamily="34" charset="0"/>
            </a:endParaRPr>
          </a:p>
        </p:txBody>
      </p:sp>
      <p:cxnSp>
        <p:nvCxnSpPr>
          <p:cNvPr id="82" name="Straight Connector 81">
            <a:extLst>
              <a:ext uri="{FF2B5EF4-FFF2-40B4-BE49-F238E27FC236}">
                <a16:creationId xmlns:a16="http://schemas.microsoft.com/office/drawing/2014/main" id="{013FF458-01E1-4CA6-B1AB-F802E3C0433E}"/>
              </a:ext>
            </a:extLst>
          </p:cNvPr>
          <p:cNvCxnSpPr/>
          <p:nvPr/>
        </p:nvCxnSpPr>
        <p:spPr>
          <a:xfrm flipH="1">
            <a:off x="1736372" y="4102971"/>
            <a:ext cx="1101680" cy="0"/>
          </a:xfrm>
          <a:prstGeom prst="line">
            <a:avLst/>
          </a:prstGeom>
          <a:ln w="19050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Arrow Connector 82">
            <a:extLst>
              <a:ext uri="{FF2B5EF4-FFF2-40B4-BE49-F238E27FC236}">
                <a16:creationId xmlns:a16="http://schemas.microsoft.com/office/drawing/2014/main" id="{E35534A3-060A-4EF5-BD61-6F5F1C41795B}"/>
              </a:ext>
            </a:extLst>
          </p:cNvPr>
          <p:cNvCxnSpPr>
            <a:cxnSpLocks/>
          </p:cNvCxnSpPr>
          <p:nvPr/>
        </p:nvCxnSpPr>
        <p:spPr>
          <a:xfrm>
            <a:off x="3271126" y="3061879"/>
            <a:ext cx="0" cy="695559"/>
          </a:xfrm>
          <a:prstGeom prst="straightConnector1">
            <a:avLst/>
          </a:prstGeom>
          <a:ln>
            <a:solidFill>
              <a:srgbClr val="C00000"/>
            </a:solidFill>
            <a:headEnd type="triangle"/>
            <a:tailEnd type="non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grpSp>
        <p:nvGrpSpPr>
          <p:cNvPr id="84" name="Group 83">
            <a:extLst>
              <a:ext uri="{FF2B5EF4-FFF2-40B4-BE49-F238E27FC236}">
                <a16:creationId xmlns:a16="http://schemas.microsoft.com/office/drawing/2014/main" id="{E211D922-9715-4A4E-9529-565380ED07DC}"/>
              </a:ext>
            </a:extLst>
          </p:cNvPr>
          <p:cNvGrpSpPr/>
          <p:nvPr/>
        </p:nvGrpSpPr>
        <p:grpSpPr>
          <a:xfrm>
            <a:off x="555154" y="4427022"/>
            <a:ext cx="1199706" cy="1291078"/>
            <a:chOff x="6177839" y="3783441"/>
            <a:chExt cx="1199706" cy="1291078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898EA82-6B22-4A86-AACF-4B8E165CEB4A}"/>
                </a:ext>
              </a:extLst>
            </p:cNvPr>
            <p:cNvSpPr txBox="1"/>
            <p:nvPr/>
          </p:nvSpPr>
          <p:spPr>
            <a:xfrm>
              <a:off x="6177839" y="4463924"/>
              <a:ext cx="1199706" cy="610595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1355180"/>
                </a:avLst>
              </a:prstTxWarp>
              <a:spAutoFit/>
            </a:bodyPr>
            <a:lstStyle/>
            <a:p>
              <a:pPr algn="ctr"/>
              <a:r>
                <a:rPr lang="en-GB" sz="1050" dirty="0">
                  <a:cs typeface="Arial" panose="020B0604020202020204" pitchFamily="34" charset="0"/>
                </a:rPr>
                <a:t>Stored carbon is extracted</a:t>
              </a:r>
            </a:p>
          </p:txBody>
        </p:sp>
        <p:pic>
          <p:nvPicPr>
            <p:cNvPr id="86" name="Picture 85">
              <a:extLst>
                <a:ext uri="{FF2B5EF4-FFF2-40B4-BE49-F238E27FC236}">
                  <a16:creationId xmlns:a16="http://schemas.microsoft.com/office/drawing/2014/main" id="{6F23A039-5403-42DE-8915-7F562888A6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43" t="1705" r="7726" b="15039"/>
            <a:stretch/>
          </p:blipFill>
          <p:spPr>
            <a:xfrm>
              <a:off x="6573629" y="4202518"/>
              <a:ext cx="515115" cy="510363"/>
            </a:xfrm>
            <a:prstGeom prst="rect">
              <a:avLst/>
            </a:prstGeom>
          </p:spPr>
        </p:pic>
        <p:pic>
          <p:nvPicPr>
            <p:cNvPr id="87" name="Picture 86">
              <a:extLst>
                <a:ext uri="{FF2B5EF4-FFF2-40B4-BE49-F238E27FC236}">
                  <a16:creationId xmlns:a16="http://schemas.microsoft.com/office/drawing/2014/main" id="{180332D4-DB30-4C42-B704-B2F5D0646E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26" r="10926" b="17407"/>
            <a:stretch/>
          </p:blipFill>
          <p:spPr>
            <a:xfrm>
              <a:off x="7062755" y="4243150"/>
              <a:ext cx="296302" cy="313154"/>
            </a:xfrm>
            <a:prstGeom prst="rect">
              <a:avLst/>
            </a:prstGeom>
          </p:spPr>
        </p:pic>
        <p:cxnSp>
          <p:nvCxnSpPr>
            <p:cNvPr id="88" name="Straight Arrow Connector 87">
              <a:extLst>
                <a:ext uri="{FF2B5EF4-FFF2-40B4-BE49-F238E27FC236}">
                  <a16:creationId xmlns:a16="http://schemas.microsoft.com/office/drawing/2014/main" id="{5323A4F9-26F7-4507-BA26-456280CCC35E}"/>
                </a:ext>
              </a:extLst>
            </p:cNvPr>
            <p:cNvCxnSpPr>
              <a:cxnSpLocks/>
            </p:cNvCxnSpPr>
            <p:nvPr/>
          </p:nvCxnSpPr>
          <p:spPr>
            <a:xfrm>
              <a:off x="6782093" y="3783441"/>
              <a:ext cx="0" cy="459709"/>
            </a:xfrm>
            <a:prstGeom prst="straightConnector1">
              <a:avLst/>
            </a:prstGeom>
            <a:ln>
              <a:solidFill>
                <a:srgbClr val="C00000"/>
              </a:solidFill>
              <a:headEnd type="triangl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Straight Connector 88">
              <a:extLst>
                <a:ext uri="{FF2B5EF4-FFF2-40B4-BE49-F238E27FC236}">
                  <a16:creationId xmlns:a16="http://schemas.microsoft.com/office/drawing/2014/main" id="{B6229348-BBA6-4C44-9680-B9C74447C4EA}"/>
                </a:ext>
              </a:extLst>
            </p:cNvPr>
            <p:cNvCxnSpPr/>
            <p:nvPr/>
          </p:nvCxnSpPr>
          <p:spPr>
            <a:xfrm flipV="1">
              <a:off x="6782093" y="4712881"/>
              <a:ext cx="0" cy="236222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0" name="Picture 89">
            <a:extLst>
              <a:ext uri="{FF2B5EF4-FFF2-40B4-BE49-F238E27FC236}">
                <a16:creationId xmlns:a16="http://schemas.microsoft.com/office/drawing/2014/main" id="{271C1C8C-C437-4998-9AFE-8F8E8CB03D1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8051" y="2354183"/>
            <a:ext cx="945147" cy="581158"/>
          </a:xfrm>
          <a:prstGeom prst="rect">
            <a:avLst/>
          </a:prstGeom>
        </p:spPr>
      </p:pic>
      <p:pic>
        <p:nvPicPr>
          <p:cNvPr id="110" name="Picture 109">
            <a:extLst>
              <a:ext uri="{FF2B5EF4-FFF2-40B4-BE49-F238E27FC236}">
                <a16:creationId xmlns:a16="http://schemas.microsoft.com/office/drawing/2014/main" id="{0046B63E-16BC-4219-996C-00991C8ADD4C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88" t="4304" r="11780" b="18706"/>
          <a:stretch/>
        </p:blipFill>
        <p:spPr>
          <a:xfrm flipH="1">
            <a:off x="3018938" y="3814015"/>
            <a:ext cx="504375" cy="514784"/>
          </a:xfrm>
          <a:prstGeom prst="rect">
            <a:avLst/>
          </a:prstGeom>
        </p:spPr>
      </p:pic>
      <p:sp>
        <p:nvSpPr>
          <p:cNvPr id="111" name="TextBox 110">
            <a:extLst>
              <a:ext uri="{FF2B5EF4-FFF2-40B4-BE49-F238E27FC236}">
                <a16:creationId xmlns:a16="http://schemas.microsoft.com/office/drawing/2014/main" id="{771922BC-4957-4D0D-8107-6BD407EDFA46}"/>
              </a:ext>
            </a:extLst>
          </p:cNvPr>
          <p:cNvSpPr txBox="1"/>
          <p:nvPr/>
        </p:nvSpPr>
        <p:spPr>
          <a:xfrm>
            <a:off x="1155007" y="4482439"/>
            <a:ext cx="15140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  <a:cs typeface="Arial" panose="020B0604020202020204" pitchFamily="34" charset="0"/>
              </a:rPr>
              <a:t>Principle 1 </a:t>
            </a:r>
            <a:r>
              <a:rPr lang="en-GB" sz="1400" dirty="0">
                <a:solidFill>
                  <a:srgbClr val="FF0000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</a:t>
            </a:r>
            <a:endParaRPr lang="en-GB" sz="14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B663F7BA-2B3B-468D-9018-D1B846662F84}"/>
              </a:ext>
            </a:extLst>
          </p:cNvPr>
          <p:cNvSpPr/>
          <p:nvPr/>
        </p:nvSpPr>
        <p:spPr>
          <a:xfrm>
            <a:off x="2125684" y="3400817"/>
            <a:ext cx="11047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>
                <a:solidFill>
                  <a:srgbClr val="FF0000"/>
                </a:solidFill>
                <a:cs typeface="Arial" panose="020B0604020202020204" pitchFamily="34" charset="0"/>
              </a:rPr>
              <a:t>Principle 2 </a:t>
            </a:r>
            <a:r>
              <a:rPr lang="en-GB" sz="1400" dirty="0">
                <a:solidFill>
                  <a:srgbClr val="FF0000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</a:t>
            </a:r>
            <a:endParaRPr lang="en-GB" sz="1400" dirty="0">
              <a:solidFill>
                <a:srgbClr val="FF0000"/>
              </a:solidFill>
              <a:cs typeface="Arial" panose="020B0604020202020204" pitchFamily="34" charset="0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AC49D71B-59D0-4E4A-8A3D-C68A178AE0C9}"/>
              </a:ext>
            </a:extLst>
          </p:cNvPr>
          <p:cNvSpPr/>
          <p:nvPr/>
        </p:nvSpPr>
        <p:spPr>
          <a:xfrm>
            <a:off x="8219774" y="2265963"/>
            <a:ext cx="3530009" cy="96869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6000">
                <a:schemeClr val="bg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2" name="Picture 91" descr="A close up of a logo&#10;&#10;Description automatically generated">
            <a:extLst>
              <a:ext uri="{FF2B5EF4-FFF2-40B4-BE49-F238E27FC236}">
                <a16:creationId xmlns:a16="http://schemas.microsoft.com/office/drawing/2014/main" id="{485F7B73-C7AC-40F8-8FD9-F8A28399415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487"/>
          <a:stretch/>
        </p:blipFill>
        <p:spPr>
          <a:xfrm>
            <a:off x="8511895" y="2108141"/>
            <a:ext cx="1134688" cy="800101"/>
          </a:xfrm>
          <a:prstGeom prst="rect">
            <a:avLst/>
          </a:prstGeom>
        </p:spPr>
      </p:pic>
      <p:sp>
        <p:nvSpPr>
          <p:cNvPr id="93" name="Rectangle 92">
            <a:extLst>
              <a:ext uri="{FF2B5EF4-FFF2-40B4-BE49-F238E27FC236}">
                <a16:creationId xmlns:a16="http://schemas.microsoft.com/office/drawing/2014/main" id="{12D10F81-E249-4A21-9809-2945E9365069}"/>
              </a:ext>
            </a:extLst>
          </p:cNvPr>
          <p:cNvSpPr/>
          <p:nvPr/>
        </p:nvSpPr>
        <p:spPr>
          <a:xfrm flipV="1">
            <a:off x="8219774" y="5195573"/>
            <a:ext cx="3530009" cy="96869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46000">
                <a:schemeClr val="bg1"/>
              </a:gs>
              <a:gs pos="100000">
                <a:schemeClr val="bg1">
                  <a:lumMod val="95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cs typeface="Arial" panose="020B0604020202020204" pitchFamily="34" charset="0"/>
            </a:endParaRP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BD9EA87E-20D2-4553-97F1-6EA61DBD8BD5}"/>
              </a:ext>
            </a:extLst>
          </p:cNvPr>
          <p:cNvSpPr txBox="1"/>
          <p:nvPr/>
        </p:nvSpPr>
        <p:spPr>
          <a:xfrm>
            <a:off x="9463714" y="4245578"/>
            <a:ext cx="24677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cs typeface="Arial" panose="020B0604020202020204" pitchFamily="34" charset="0"/>
              </a:rPr>
              <a:t>Bio-CCS</a:t>
            </a: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C7E6F780-3F09-4EB4-B820-441AD0E77392}"/>
              </a:ext>
            </a:extLst>
          </p:cNvPr>
          <p:cNvSpPr/>
          <p:nvPr/>
        </p:nvSpPr>
        <p:spPr>
          <a:xfrm>
            <a:off x="8799569" y="2431519"/>
            <a:ext cx="6158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</a:t>
            </a:r>
            <a:r>
              <a:rPr lang="en-GB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96" name="Straight Arrow Connector 95">
            <a:extLst>
              <a:ext uri="{FF2B5EF4-FFF2-40B4-BE49-F238E27FC236}">
                <a16:creationId xmlns:a16="http://schemas.microsoft.com/office/drawing/2014/main" id="{7F681D6A-3E49-4176-8A69-59EA721F56B5}"/>
              </a:ext>
            </a:extLst>
          </p:cNvPr>
          <p:cNvCxnSpPr>
            <a:cxnSpLocks/>
          </p:cNvCxnSpPr>
          <p:nvPr/>
        </p:nvCxnSpPr>
        <p:spPr>
          <a:xfrm>
            <a:off x="9079239" y="2908242"/>
            <a:ext cx="0" cy="619608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>
            <a:extLst>
              <a:ext uri="{FF2B5EF4-FFF2-40B4-BE49-F238E27FC236}">
                <a16:creationId xmlns:a16="http://schemas.microsoft.com/office/drawing/2014/main" id="{27096B6C-AF8C-424D-AA66-EEB619F4F640}"/>
              </a:ext>
            </a:extLst>
          </p:cNvPr>
          <p:cNvCxnSpPr>
            <a:cxnSpLocks/>
          </p:cNvCxnSpPr>
          <p:nvPr/>
        </p:nvCxnSpPr>
        <p:spPr>
          <a:xfrm>
            <a:off x="11331569" y="4372588"/>
            <a:ext cx="0" cy="972364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98" name="Picture 97" descr="A close up of a logo&#10;&#10;Description automatically generated">
            <a:extLst>
              <a:ext uri="{FF2B5EF4-FFF2-40B4-BE49-F238E27FC236}">
                <a16:creationId xmlns:a16="http://schemas.microsoft.com/office/drawing/2014/main" id="{EB1042A8-5EE9-49E2-8459-A1C6F7A4EF3E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9825"/>
          <a:stretch/>
        </p:blipFill>
        <p:spPr>
          <a:xfrm>
            <a:off x="10985738" y="5405912"/>
            <a:ext cx="691662" cy="554542"/>
          </a:xfrm>
          <a:prstGeom prst="rect">
            <a:avLst/>
          </a:prstGeom>
        </p:spPr>
      </p:pic>
      <p:sp>
        <p:nvSpPr>
          <p:cNvPr id="99" name="TextBox 98">
            <a:extLst>
              <a:ext uri="{FF2B5EF4-FFF2-40B4-BE49-F238E27FC236}">
                <a16:creationId xmlns:a16="http://schemas.microsoft.com/office/drawing/2014/main" id="{A5546F8B-B5EA-4781-B5EF-76FCA9887307}"/>
              </a:ext>
            </a:extLst>
          </p:cNvPr>
          <p:cNvSpPr txBox="1"/>
          <p:nvPr/>
        </p:nvSpPr>
        <p:spPr>
          <a:xfrm>
            <a:off x="10731716" y="5532450"/>
            <a:ext cx="1199706" cy="610595"/>
          </a:xfrm>
          <a:prstGeom prst="rect">
            <a:avLst/>
          </a:prstGeom>
          <a:noFill/>
        </p:spPr>
        <p:txBody>
          <a:bodyPr wrap="square" rtlCol="0">
            <a:prstTxWarp prst="textArchDown">
              <a:avLst>
                <a:gd name="adj" fmla="val 1355180"/>
              </a:avLst>
            </a:prstTxWarp>
            <a:spAutoFit/>
          </a:bodyPr>
          <a:lstStyle/>
          <a:p>
            <a:pPr algn="ctr"/>
            <a:r>
              <a:rPr lang="en-GB" sz="1050" dirty="0">
                <a:cs typeface="Arial" panose="020B0604020202020204" pitchFamily="34" charset="0"/>
              </a:rPr>
              <a:t>CO</a:t>
            </a:r>
            <a:r>
              <a:rPr lang="en-GB" sz="1050" baseline="-25000" dirty="0">
                <a:cs typeface="Arial" panose="020B0604020202020204" pitchFamily="34" charset="0"/>
              </a:rPr>
              <a:t>2</a:t>
            </a:r>
            <a:r>
              <a:rPr lang="en-GB" sz="1050" dirty="0">
                <a:cs typeface="Arial" panose="020B0604020202020204" pitchFamily="34" charset="0"/>
              </a:rPr>
              <a:t> Stored</a:t>
            </a:r>
          </a:p>
        </p:txBody>
      </p: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752361DD-B5EC-4EA5-9503-E3B5FC7C1CB4}"/>
              </a:ext>
            </a:extLst>
          </p:cNvPr>
          <p:cNvCxnSpPr/>
          <p:nvPr/>
        </p:nvCxnSpPr>
        <p:spPr>
          <a:xfrm>
            <a:off x="8219774" y="3226350"/>
            <a:ext cx="3530009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Connector 100">
            <a:extLst>
              <a:ext uri="{FF2B5EF4-FFF2-40B4-BE49-F238E27FC236}">
                <a16:creationId xmlns:a16="http://schemas.microsoft.com/office/drawing/2014/main" id="{4641E99D-C801-467A-976F-CD2F5EF89BC8}"/>
              </a:ext>
            </a:extLst>
          </p:cNvPr>
          <p:cNvCxnSpPr/>
          <p:nvPr/>
        </p:nvCxnSpPr>
        <p:spPr>
          <a:xfrm>
            <a:off x="8219774" y="5188763"/>
            <a:ext cx="3530009" cy="0"/>
          </a:xfrm>
          <a:prstGeom prst="line">
            <a:avLst/>
          </a:prstGeom>
          <a:ln w="254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TextBox 101">
            <a:extLst>
              <a:ext uri="{FF2B5EF4-FFF2-40B4-BE49-F238E27FC236}">
                <a16:creationId xmlns:a16="http://schemas.microsoft.com/office/drawing/2014/main" id="{0FF4258F-D6F5-4F57-9046-F675A3173CAB}"/>
              </a:ext>
            </a:extLst>
          </p:cNvPr>
          <p:cNvSpPr txBox="1"/>
          <p:nvPr/>
        </p:nvSpPr>
        <p:spPr>
          <a:xfrm>
            <a:off x="8441196" y="3635502"/>
            <a:ext cx="1199706" cy="610595"/>
          </a:xfrm>
          <a:prstGeom prst="rect">
            <a:avLst/>
          </a:prstGeom>
          <a:noFill/>
        </p:spPr>
        <p:txBody>
          <a:bodyPr wrap="square" rtlCol="0">
            <a:prstTxWarp prst="textArchUp">
              <a:avLst>
                <a:gd name="adj" fmla="val 13144255"/>
              </a:avLst>
            </a:prstTxWarp>
            <a:spAutoFit/>
          </a:bodyPr>
          <a:lstStyle/>
          <a:p>
            <a:pPr algn="ctr"/>
            <a:r>
              <a:rPr lang="en-GB" sz="1200" dirty="0">
                <a:cs typeface="Arial" panose="020B0604020202020204" pitchFamily="34" charset="0"/>
              </a:rPr>
              <a:t>Biomass</a:t>
            </a:r>
          </a:p>
        </p:txBody>
      </p:sp>
      <p:pic>
        <p:nvPicPr>
          <p:cNvPr id="103" name="Picture 102">
            <a:extLst>
              <a:ext uri="{FF2B5EF4-FFF2-40B4-BE49-F238E27FC236}">
                <a16:creationId xmlns:a16="http://schemas.microsoft.com/office/drawing/2014/main" id="{495E3797-55A7-4D38-9DF5-A56804D48F18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92" t="8148" r="10371" b="21852"/>
          <a:stretch/>
        </p:blipFill>
        <p:spPr>
          <a:xfrm>
            <a:off x="8772472" y="3762309"/>
            <a:ext cx="472777" cy="441622"/>
          </a:xfrm>
          <a:prstGeom prst="rect">
            <a:avLst/>
          </a:prstGeom>
        </p:spPr>
      </p:pic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CF21577A-E182-435B-8300-D778EDE4BDEF}"/>
              </a:ext>
            </a:extLst>
          </p:cNvPr>
          <p:cNvCxnSpPr/>
          <p:nvPr/>
        </p:nvCxnSpPr>
        <p:spPr>
          <a:xfrm flipH="1">
            <a:off x="9356731" y="4014446"/>
            <a:ext cx="1216088" cy="0"/>
          </a:xfrm>
          <a:prstGeom prst="line">
            <a:avLst/>
          </a:prstGeom>
          <a:ln w="19050">
            <a:head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5" name="Picture 104">
            <a:extLst>
              <a:ext uri="{FF2B5EF4-FFF2-40B4-BE49-F238E27FC236}">
                <a16:creationId xmlns:a16="http://schemas.microsoft.com/office/drawing/2014/main" id="{6644A15A-48B6-4781-AA0B-2E19CA08417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95" t="13950" r="18519" b="27778"/>
          <a:stretch/>
        </p:blipFill>
        <p:spPr>
          <a:xfrm>
            <a:off x="10731716" y="3689732"/>
            <a:ext cx="602335" cy="556365"/>
          </a:xfrm>
          <a:prstGeom prst="rect">
            <a:avLst/>
          </a:prstGeom>
        </p:spPr>
      </p:pic>
      <p:sp>
        <p:nvSpPr>
          <p:cNvPr id="106" name="Rectangle 105">
            <a:extLst>
              <a:ext uri="{FF2B5EF4-FFF2-40B4-BE49-F238E27FC236}">
                <a16:creationId xmlns:a16="http://schemas.microsoft.com/office/drawing/2014/main" id="{3510A705-41E7-4CB2-8F57-1A97AB893610}"/>
              </a:ext>
            </a:extLst>
          </p:cNvPr>
          <p:cNvSpPr/>
          <p:nvPr/>
        </p:nvSpPr>
        <p:spPr>
          <a:xfrm>
            <a:off x="8336260" y="5067543"/>
            <a:ext cx="1827360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600" baseline="-25000" dirty="0">
                <a:cs typeface="Arial" panose="020B0604020202020204" pitchFamily="34" charset="0"/>
              </a:rPr>
              <a:t>Permanent geological storage</a:t>
            </a:r>
            <a:endParaRPr lang="en-GB" sz="1600" dirty="0">
              <a:cs typeface="Arial" panose="020B0604020202020204" pitchFamily="34" charset="0"/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A1258EC-839C-4E7D-BDB8-DBAB7B59398F}"/>
              </a:ext>
            </a:extLst>
          </p:cNvPr>
          <p:cNvSpPr/>
          <p:nvPr/>
        </p:nvSpPr>
        <p:spPr>
          <a:xfrm>
            <a:off x="10898822" y="2878170"/>
            <a:ext cx="86549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600" baseline="-25000" dirty="0">
                <a:cs typeface="Arial" panose="020B0604020202020204" pitchFamily="34" charset="0"/>
              </a:rPr>
              <a:t>Atmosphere</a:t>
            </a:r>
            <a:endParaRPr lang="en-GB" sz="1600" dirty="0">
              <a:cs typeface="Arial" panose="020B0604020202020204" pitchFamily="34" charset="0"/>
            </a:endParaRPr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329CE58E-B1CF-4CF6-92F3-C126F8B40D75}"/>
              </a:ext>
            </a:extLst>
          </p:cNvPr>
          <p:cNvSpPr/>
          <p:nvPr/>
        </p:nvSpPr>
        <p:spPr>
          <a:xfrm>
            <a:off x="9318478" y="3343551"/>
            <a:ext cx="11320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>
                <a:solidFill>
                  <a:srgbClr val="00B050"/>
                </a:solidFill>
                <a:cs typeface="Arial" panose="020B0604020202020204" pitchFamily="34" charset="0"/>
              </a:rPr>
              <a:t>Principle 1 </a:t>
            </a:r>
            <a:r>
              <a:rPr lang="en-GB" sz="1400" dirty="0">
                <a:solidFill>
                  <a:srgbClr val="00B050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GB" sz="1400" dirty="0">
              <a:solidFill>
                <a:srgbClr val="00B050"/>
              </a:solidFill>
              <a:cs typeface="Arial" panose="020B0604020202020204" pitchFamily="34" charset="0"/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28A74DC2-A0E9-4D5A-A78C-D0A07F431E0F}"/>
              </a:ext>
            </a:extLst>
          </p:cNvPr>
          <p:cNvSpPr/>
          <p:nvPr/>
        </p:nvSpPr>
        <p:spPr>
          <a:xfrm>
            <a:off x="10182873" y="4734848"/>
            <a:ext cx="113204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400" dirty="0">
                <a:solidFill>
                  <a:srgbClr val="00B050"/>
                </a:solidFill>
                <a:cs typeface="Arial" panose="020B0604020202020204" pitchFamily="34" charset="0"/>
              </a:rPr>
              <a:t>Principle 2 </a:t>
            </a:r>
            <a:r>
              <a:rPr lang="en-GB" sz="1400" dirty="0">
                <a:solidFill>
                  <a:srgbClr val="00B050"/>
                </a:solidFill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en-GB" sz="1400" dirty="0">
              <a:solidFill>
                <a:srgbClr val="00B050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B2FDEF8-A2E2-4854-B446-DC03AE3772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IE" sz="4000" b="1" dirty="0">
                <a:solidFill>
                  <a:srgbClr val="006DBE"/>
                </a:solidFill>
                <a:latin typeface="TT Hoves" panose="02000803040000020004" pitchFamily="2" charset="0"/>
                <a:ea typeface="+mn-ea"/>
                <a:cs typeface="+mn-cs"/>
              </a:rPr>
              <a:t>What is (not) CDR?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696BF6D-E68D-43B1-8641-A81FF0141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98247" y="6428471"/>
            <a:ext cx="2154143" cy="27432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649467-CEAB-EA46-9A1E-2DCC19F2E083}" type="datetime1">
              <a:rPr kumimoji="0" lang="en-GB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/06/202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6486D3-5E61-4F4F-AE92-F0E9D8668D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59661" y="6428471"/>
            <a:ext cx="973667" cy="274320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22F896-40B5-4ADD-8801-0D06FADFA095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000000">
                  <a:lumMod val="95000"/>
                  <a:lumOff val="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8DC1E887-D524-4544-9DC8-055FF00113F5}"/>
              </a:ext>
            </a:extLst>
          </p:cNvPr>
          <p:cNvGrpSpPr/>
          <p:nvPr/>
        </p:nvGrpSpPr>
        <p:grpSpPr>
          <a:xfrm>
            <a:off x="4041523" y="2257014"/>
            <a:ext cx="4151209" cy="3908527"/>
            <a:chOff x="3663388" y="1302753"/>
            <a:chExt cx="4151209" cy="3908527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DDCD8B8-BA88-4B77-9F0B-01997274A47F}"/>
                </a:ext>
              </a:extLst>
            </p:cNvPr>
            <p:cNvSpPr/>
            <p:nvPr/>
          </p:nvSpPr>
          <p:spPr>
            <a:xfrm flipV="1">
              <a:off x="3992805" y="4242589"/>
              <a:ext cx="3530009" cy="96869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46000">
                  <a:schemeClr val="bg1"/>
                </a:gs>
                <a:gs pos="100000">
                  <a:schemeClr val="bg1">
                    <a:lumMod val="9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0F3D9D6F-D5A6-4268-902A-E6E44348C2AB}"/>
                </a:ext>
              </a:extLst>
            </p:cNvPr>
            <p:cNvCxnSpPr/>
            <p:nvPr/>
          </p:nvCxnSpPr>
          <p:spPr>
            <a:xfrm>
              <a:off x="3992805" y="4235779"/>
              <a:ext cx="3530009" cy="0"/>
            </a:xfrm>
            <a:prstGeom prst="line">
              <a:avLst/>
            </a:prstGeom>
            <a:ln w="25400"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9" name="Picture 28" descr="A close up of a logo&#10;&#10;Description automatically generated">
              <a:extLst>
                <a:ext uri="{FF2B5EF4-FFF2-40B4-BE49-F238E27FC236}">
                  <a16:creationId xmlns:a16="http://schemas.microsoft.com/office/drawing/2014/main" id="{E324808A-14C4-49A4-8146-7F76529B6D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9825"/>
            <a:stretch/>
          </p:blipFill>
          <p:spPr>
            <a:xfrm>
              <a:off x="6868913" y="4381069"/>
              <a:ext cx="691662" cy="554542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CE75110-9BD4-4D24-8E81-2AC17BCB4EF1}"/>
                </a:ext>
              </a:extLst>
            </p:cNvPr>
            <p:cNvSpPr txBox="1"/>
            <p:nvPr/>
          </p:nvSpPr>
          <p:spPr>
            <a:xfrm>
              <a:off x="6614891" y="4507607"/>
              <a:ext cx="1199706" cy="610595"/>
            </a:xfrm>
            <a:prstGeom prst="rect">
              <a:avLst/>
            </a:prstGeom>
            <a:noFill/>
          </p:spPr>
          <p:txBody>
            <a:bodyPr wrap="square" rtlCol="0">
              <a:prstTxWarp prst="textArchDown">
                <a:avLst>
                  <a:gd name="adj" fmla="val 1355180"/>
                </a:avLst>
              </a:prstTxWarp>
              <a:spAutoFit/>
            </a:bodyPr>
            <a:lstStyle/>
            <a:p>
              <a:pPr algn="ctr"/>
              <a:r>
                <a:rPr lang="en-GB" sz="1100">
                  <a:latin typeface="Arial" panose="020B0604020202020204" pitchFamily="34" charset="0"/>
                  <a:cs typeface="Arial" panose="020B0604020202020204" pitchFamily="34" charset="0"/>
                </a:rPr>
                <a:t>CO</a:t>
              </a:r>
              <a:r>
                <a:rPr lang="en-GB" sz="1100" baseline="-25000"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r>
                <a:rPr lang="en-GB" sz="1100">
                  <a:latin typeface="Arial" panose="020B0604020202020204" pitchFamily="34" charset="0"/>
                  <a:cs typeface="Arial" panose="020B0604020202020204" pitchFamily="34" charset="0"/>
                </a:rPr>
                <a:t> Stored</a:t>
              </a:r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130E5EAF-69C5-4343-9C65-A1E2A7146C41}"/>
                </a:ext>
              </a:extLst>
            </p:cNvPr>
            <p:cNvSpPr/>
            <p:nvPr/>
          </p:nvSpPr>
          <p:spPr>
            <a:xfrm>
              <a:off x="3992805" y="1302753"/>
              <a:ext cx="3530009" cy="968691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46000">
                  <a:schemeClr val="bg1"/>
                </a:gs>
                <a:gs pos="100000">
                  <a:schemeClr val="accent1">
                    <a:lumMod val="20000"/>
                    <a:lumOff val="80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374D8ADF-14B1-4AA0-BC16-1DE7F196AFB4}"/>
                </a:ext>
              </a:extLst>
            </p:cNvPr>
            <p:cNvCxnSpPr>
              <a:cxnSpLocks/>
            </p:cNvCxnSpPr>
            <p:nvPr/>
          </p:nvCxnSpPr>
          <p:spPr>
            <a:xfrm>
              <a:off x="3992805" y="2263140"/>
              <a:ext cx="3530009" cy="0"/>
            </a:xfrm>
            <a:prstGeom prst="line">
              <a:avLst/>
            </a:prstGeom>
            <a:ln w="2540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624C9173-C3FB-4D29-AA64-0E6F5871B7F5}"/>
                </a:ext>
              </a:extLst>
            </p:cNvPr>
            <p:cNvSpPr/>
            <p:nvPr/>
          </p:nvSpPr>
          <p:spPr>
            <a:xfrm>
              <a:off x="4897242" y="4226067"/>
              <a:ext cx="205857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100">
                  <a:latin typeface="Arial" panose="020B0604020202020204" pitchFamily="34" charset="0"/>
                  <a:cs typeface="Arial" panose="020B0604020202020204" pitchFamily="34" charset="0"/>
                </a:rPr>
                <a:t>Permanent geological storage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6DD4E05-6EE4-4003-9B44-EE49A0C8F985}"/>
                </a:ext>
              </a:extLst>
            </p:cNvPr>
            <p:cNvSpPr txBox="1"/>
            <p:nvPr/>
          </p:nvSpPr>
          <p:spPr>
            <a:xfrm>
              <a:off x="3663388" y="3180999"/>
              <a:ext cx="2467708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1100">
                  <a:latin typeface="Arial" panose="020B0604020202020204" pitchFamily="34" charset="0"/>
                  <a:cs typeface="Arial" panose="020B0604020202020204" pitchFamily="34" charset="0"/>
                </a:rPr>
                <a:t>CCS</a:t>
              </a:r>
            </a:p>
          </p:txBody>
        </p: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7205BB22-C1DC-47D1-8862-80D37251A4F4}"/>
                </a:ext>
              </a:extLst>
            </p:cNvPr>
            <p:cNvCxnSpPr>
              <a:cxnSpLocks/>
            </p:cNvCxnSpPr>
            <p:nvPr/>
          </p:nvCxnSpPr>
          <p:spPr>
            <a:xfrm>
              <a:off x="7193580" y="3098255"/>
              <a:ext cx="0" cy="1282814"/>
            </a:xfrm>
            <a:prstGeom prst="straightConnector1">
              <a:avLst/>
            </a:prstGeom>
            <a:ln>
              <a:solidFill>
                <a:srgbClr val="C00000"/>
              </a:solidFill>
              <a:tailEnd type="triangl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B5010FD8-810A-4B0B-926E-D335E6BAB623}"/>
                </a:ext>
              </a:extLst>
            </p:cNvPr>
            <p:cNvCxnSpPr/>
            <p:nvPr/>
          </p:nvCxnSpPr>
          <p:spPr>
            <a:xfrm flipV="1">
              <a:off x="4829641" y="3098256"/>
              <a:ext cx="2363939" cy="15249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A02CC16B-E93C-4864-A29F-53EA6DE3759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395" t="13950" r="18519" b="27778"/>
            <a:stretch/>
          </p:blipFill>
          <p:spPr>
            <a:xfrm>
              <a:off x="4074021" y="2835323"/>
              <a:ext cx="602335" cy="556365"/>
            </a:xfrm>
            <a:prstGeom prst="rect">
              <a:avLst/>
            </a:prstGeom>
          </p:spPr>
        </p:pic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D0B6FF49-AF1C-4377-882D-1056F57F89C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43" t="1705" r="7726" b="15039"/>
            <a:stretch/>
          </p:blipFill>
          <p:spPr>
            <a:xfrm>
              <a:off x="3981557" y="3905989"/>
              <a:ext cx="515115" cy="510363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7CEF8ABC-2E98-4D4B-B15E-44E209AA997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926" r="10926" b="17407"/>
            <a:stretch/>
          </p:blipFill>
          <p:spPr>
            <a:xfrm>
              <a:off x="4458813" y="3947307"/>
              <a:ext cx="296302" cy="313154"/>
            </a:xfrm>
            <a:prstGeom prst="rect">
              <a:avLst/>
            </a:prstGeom>
          </p:spPr>
        </p:pic>
        <p:cxnSp>
          <p:nvCxnSpPr>
            <p:cNvPr id="40" name="Straight Arrow Connector 39">
              <a:extLst>
                <a:ext uri="{FF2B5EF4-FFF2-40B4-BE49-F238E27FC236}">
                  <a16:creationId xmlns:a16="http://schemas.microsoft.com/office/drawing/2014/main" id="{4178F7EC-6354-414A-927A-D84B0C8F8B0E}"/>
                </a:ext>
              </a:extLst>
            </p:cNvPr>
            <p:cNvCxnSpPr>
              <a:cxnSpLocks/>
            </p:cNvCxnSpPr>
            <p:nvPr/>
          </p:nvCxnSpPr>
          <p:spPr>
            <a:xfrm>
              <a:off x="4259628" y="3487598"/>
              <a:ext cx="0" cy="459709"/>
            </a:xfrm>
            <a:prstGeom prst="straightConnector1">
              <a:avLst/>
            </a:prstGeom>
            <a:ln>
              <a:solidFill>
                <a:srgbClr val="C00000"/>
              </a:solidFill>
              <a:headEnd type="triangle"/>
              <a:tailEnd type="none"/>
            </a:ln>
          </p:spPr>
          <p:style>
            <a:lnRef idx="3">
              <a:schemeClr val="accent1"/>
            </a:lnRef>
            <a:fillRef idx="0">
              <a:schemeClr val="accent1"/>
            </a:fillRef>
            <a:effectRef idx="2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7E92CEB-AE1C-4735-AB9F-5BB62FE37642}"/>
                </a:ext>
              </a:extLst>
            </p:cNvPr>
            <p:cNvCxnSpPr/>
            <p:nvPr/>
          </p:nvCxnSpPr>
          <p:spPr>
            <a:xfrm flipV="1">
              <a:off x="4259628" y="4417038"/>
              <a:ext cx="0" cy="236222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1FFD70A0-1FE9-47F8-BC97-2606F0A069D8}"/>
                </a:ext>
              </a:extLst>
            </p:cNvPr>
            <p:cNvSpPr/>
            <p:nvPr/>
          </p:nvSpPr>
          <p:spPr>
            <a:xfrm>
              <a:off x="3915769" y="4615337"/>
              <a:ext cx="1827744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100">
                  <a:latin typeface="Arial" panose="020B0604020202020204" pitchFamily="34" charset="0"/>
                  <a:cs typeface="Arial" panose="020B0604020202020204" pitchFamily="34" charset="0"/>
                </a:rPr>
                <a:t>Stored carbon is extracted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8F9797D9-95FC-48DC-AC89-B8087A975128}"/>
                </a:ext>
              </a:extLst>
            </p:cNvPr>
            <p:cNvSpPr/>
            <p:nvPr/>
          </p:nvSpPr>
          <p:spPr>
            <a:xfrm>
              <a:off x="3915769" y="1916425"/>
              <a:ext cx="918841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en-GB" sz="1600" baseline="-2500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mosphere</a:t>
              </a:r>
              <a:endParaRPr lang="en-GB" sz="160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8EF3B307-F937-494B-9A0E-06E8A90FBEED}"/>
                </a:ext>
              </a:extLst>
            </p:cNvPr>
            <p:cNvSpPr txBox="1"/>
            <p:nvPr/>
          </p:nvSpPr>
          <p:spPr>
            <a:xfrm>
              <a:off x="4237783" y="3526271"/>
              <a:ext cx="151403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nciple 1 </a:t>
              </a:r>
              <a:r>
                <a:rPr lang="en-GB" sz="140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</a:t>
              </a:r>
              <a:endParaRPr lang="en-GB" sz="140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6FE8B2C7-8B23-43D1-B42A-4FDA09DD7E85}"/>
                </a:ext>
              </a:extLst>
            </p:cNvPr>
            <p:cNvSpPr/>
            <p:nvPr/>
          </p:nvSpPr>
          <p:spPr>
            <a:xfrm>
              <a:off x="6038702" y="3521676"/>
              <a:ext cx="121219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1400" dirty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nciple 2 </a:t>
              </a:r>
              <a:r>
                <a:rPr lang="en-GB" sz="1400" dirty="0">
                  <a:solidFill>
                    <a:srgbClr val="00B05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</a:t>
              </a:r>
              <a:endParaRPr lang="en-GB" sz="1400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9" name="TextBox 68">
            <a:extLst>
              <a:ext uri="{FF2B5EF4-FFF2-40B4-BE49-F238E27FC236}">
                <a16:creationId xmlns:a16="http://schemas.microsoft.com/office/drawing/2014/main" id="{CBF7CF52-D37D-44E8-BA1B-A6D76B6E97D1}"/>
              </a:ext>
            </a:extLst>
          </p:cNvPr>
          <p:cNvSpPr txBox="1"/>
          <p:nvPr/>
        </p:nvSpPr>
        <p:spPr>
          <a:xfrm>
            <a:off x="50138" y="2293601"/>
            <a:ext cx="18695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E" sz="2800" i="1" dirty="0">
                <a:solidFill>
                  <a:schemeClr val="bg1">
                    <a:lumMod val="50000"/>
                  </a:schemeClr>
                </a:solidFill>
                <a:latin typeface="TT Hoves" panose="02000803040000020004" pitchFamily="2" charset="0"/>
              </a:rPr>
              <a:t>Emissions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B9DAC88-A8B5-477F-8607-BCD6C857E2A4}"/>
              </a:ext>
            </a:extLst>
          </p:cNvPr>
          <p:cNvSpPr txBox="1"/>
          <p:nvPr/>
        </p:nvSpPr>
        <p:spPr>
          <a:xfrm>
            <a:off x="4198476" y="2224696"/>
            <a:ext cx="36632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E" sz="2800" i="1" dirty="0">
                <a:solidFill>
                  <a:schemeClr val="bg1">
                    <a:lumMod val="50000"/>
                  </a:schemeClr>
                </a:solidFill>
                <a:latin typeface="TT Hoves" panose="02000803040000020004" pitchFamily="2" charset="0"/>
              </a:rPr>
              <a:t>Emission Reduction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6337C12-D34D-4A84-A5CA-8937C4A7E03D}"/>
              </a:ext>
            </a:extLst>
          </p:cNvPr>
          <p:cNvSpPr txBox="1"/>
          <p:nvPr/>
        </p:nvSpPr>
        <p:spPr>
          <a:xfrm>
            <a:off x="10238303" y="2270204"/>
            <a:ext cx="186954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IE" sz="2800" i="1" dirty="0">
                <a:latin typeface="TT Hoves" panose="02000803040000020004" pitchFamily="2" charset="0"/>
              </a:rPr>
              <a:t>Removal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6CF3F8F5-DE45-49DD-89D6-D52811F177CB}"/>
              </a:ext>
            </a:extLst>
          </p:cNvPr>
          <p:cNvSpPr txBox="1"/>
          <p:nvPr/>
        </p:nvSpPr>
        <p:spPr>
          <a:xfrm>
            <a:off x="4387982" y="6152897"/>
            <a:ext cx="3744231" cy="6463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i="1" dirty="0"/>
              <a:t>Emissions </a:t>
            </a:r>
            <a:r>
              <a:rPr lang="en-GB" b="1" i="1" u="sng" dirty="0"/>
              <a:t>Avoidance is not</a:t>
            </a:r>
            <a:r>
              <a:rPr lang="en-GB" i="1" dirty="0"/>
              <a:t>, and </a:t>
            </a:r>
            <a:r>
              <a:rPr lang="en-GB" i="1" dirty="0">
                <a:solidFill>
                  <a:srgbClr val="FF0000"/>
                </a:solidFill>
              </a:rPr>
              <a:t>never</a:t>
            </a:r>
            <a:r>
              <a:rPr lang="en-GB" i="1" dirty="0"/>
              <a:t> can be Carbon Dioxide Removal</a:t>
            </a:r>
          </a:p>
        </p:txBody>
      </p:sp>
    </p:spTree>
    <p:extLst>
      <p:ext uri="{BB962C8B-B14F-4D97-AF65-F5344CB8AC3E}">
        <p14:creationId xmlns:p14="http://schemas.microsoft.com/office/powerpoint/2010/main" val="710740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B0431103-62EB-AE8A-B032-A6C12C28A552}"/>
              </a:ext>
            </a:extLst>
          </p:cNvPr>
          <p:cNvSpPr/>
          <p:nvPr/>
        </p:nvSpPr>
        <p:spPr>
          <a:xfrm>
            <a:off x="3026503" y="1139681"/>
            <a:ext cx="952436" cy="3836442"/>
          </a:xfrm>
          <a:custGeom>
            <a:avLst/>
            <a:gdLst>
              <a:gd name="connsiteX0" fmla="*/ 861169 w 952436"/>
              <a:gd name="connsiteY0" fmla="*/ 0 h 3836442"/>
              <a:gd name="connsiteX1" fmla="*/ 952436 w 952436"/>
              <a:gd name="connsiteY1" fmla="*/ 91267 h 3836442"/>
              <a:gd name="connsiteX2" fmla="*/ 861169 w 952436"/>
              <a:gd name="connsiteY2" fmla="*/ 182572 h 3836442"/>
              <a:gd name="connsiteX3" fmla="*/ 861169 w 952436"/>
              <a:gd name="connsiteY3" fmla="*/ 132476 h 3836442"/>
              <a:gd name="connsiteX4" fmla="*/ 608727 w 952436"/>
              <a:gd name="connsiteY4" fmla="*/ 132476 h 3836442"/>
              <a:gd name="connsiteX5" fmla="*/ 608560 w 952436"/>
              <a:gd name="connsiteY5" fmla="*/ 132548 h 3836442"/>
              <a:gd name="connsiteX6" fmla="*/ 93811 w 952436"/>
              <a:gd name="connsiteY6" fmla="*/ 647297 h 3836442"/>
              <a:gd name="connsiteX7" fmla="*/ 93621 w 952436"/>
              <a:gd name="connsiteY7" fmla="*/ 647754 h 3836442"/>
              <a:gd name="connsiteX8" fmla="*/ 94002 w 952436"/>
              <a:gd name="connsiteY8" fmla="*/ 647756 h 3836442"/>
              <a:gd name="connsiteX9" fmla="*/ 82911 w 952436"/>
              <a:gd name="connsiteY9" fmla="*/ 3836442 h 3836442"/>
              <a:gd name="connsiteX10" fmla="*/ 0 w 952436"/>
              <a:gd name="connsiteY10" fmla="*/ 3836062 h 3836442"/>
              <a:gd name="connsiteX11" fmla="*/ 11090 w 952436"/>
              <a:gd name="connsiteY11" fmla="*/ 647388 h 3836442"/>
              <a:gd name="connsiteX12" fmla="*/ 11052 w 952436"/>
              <a:gd name="connsiteY12" fmla="*/ 647297 h 3836442"/>
              <a:gd name="connsiteX13" fmla="*/ 488289 w 952436"/>
              <a:gd name="connsiteY13" fmla="*/ 61948 h 3836442"/>
              <a:gd name="connsiteX14" fmla="*/ 593824 w 952436"/>
              <a:gd name="connsiteY14" fmla="*/ 51278 h 3836442"/>
              <a:gd name="connsiteX15" fmla="*/ 593824 w 952436"/>
              <a:gd name="connsiteY15" fmla="*/ 50096 h 3836442"/>
              <a:gd name="connsiteX16" fmla="*/ 605514 w 952436"/>
              <a:gd name="connsiteY16" fmla="*/ 50096 h 3836442"/>
              <a:gd name="connsiteX17" fmla="*/ 608560 w 952436"/>
              <a:gd name="connsiteY17" fmla="*/ 49788 h 3836442"/>
              <a:gd name="connsiteX18" fmla="*/ 609244 w 952436"/>
              <a:gd name="connsiteY18" fmla="*/ 50096 h 3836442"/>
              <a:gd name="connsiteX19" fmla="*/ 861169 w 952436"/>
              <a:gd name="connsiteY19" fmla="*/ 50096 h 38364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952436" h="3836442">
                <a:moveTo>
                  <a:pt x="861169" y="0"/>
                </a:moveTo>
                <a:lnTo>
                  <a:pt x="952436" y="91267"/>
                </a:lnTo>
                <a:lnTo>
                  <a:pt x="861169" y="182572"/>
                </a:lnTo>
                <a:lnTo>
                  <a:pt x="861169" y="132476"/>
                </a:lnTo>
                <a:lnTo>
                  <a:pt x="608727" y="132476"/>
                </a:lnTo>
                <a:lnTo>
                  <a:pt x="608560" y="132548"/>
                </a:lnTo>
                <a:cubicBezTo>
                  <a:pt x="324733" y="132548"/>
                  <a:pt x="93811" y="363469"/>
                  <a:pt x="93811" y="647297"/>
                </a:cubicBezTo>
                <a:lnTo>
                  <a:pt x="93621" y="647754"/>
                </a:lnTo>
                <a:lnTo>
                  <a:pt x="94002" y="647756"/>
                </a:lnTo>
                <a:lnTo>
                  <a:pt x="82911" y="3836442"/>
                </a:lnTo>
                <a:lnTo>
                  <a:pt x="0" y="3836062"/>
                </a:lnTo>
                <a:lnTo>
                  <a:pt x="11090" y="647388"/>
                </a:lnTo>
                <a:lnTo>
                  <a:pt x="11052" y="647297"/>
                </a:lnTo>
                <a:cubicBezTo>
                  <a:pt x="11052" y="359001"/>
                  <a:pt x="216261" y="117755"/>
                  <a:pt x="488289" y="61948"/>
                </a:cubicBezTo>
                <a:lnTo>
                  <a:pt x="593824" y="51278"/>
                </a:lnTo>
                <a:lnTo>
                  <a:pt x="593824" y="50096"/>
                </a:lnTo>
                <a:lnTo>
                  <a:pt x="605514" y="50096"/>
                </a:lnTo>
                <a:lnTo>
                  <a:pt x="608560" y="49788"/>
                </a:lnTo>
                <a:lnTo>
                  <a:pt x="609244" y="50096"/>
                </a:lnTo>
                <a:lnTo>
                  <a:pt x="861169" y="50096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EB41D2-7D37-1730-62EE-0D19EC9C8F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244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EB41D2-7D37-1730-62EE-0D19EC9C8F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>
            <a:extLst>
              <a:ext uri="{FF2B5EF4-FFF2-40B4-BE49-F238E27FC236}">
                <a16:creationId xmlns:a16="http://schemas.microsoft.com/office/drawing/2014/main" id="{E205CAFA-202E-154D-43FE-3FE4C2FAF6E8}"/>
              </a:ext>
            </a:extLst>
          </p:cNvPr>
          <p:cNvSpPr/>
          <p:nvPr/>
        </p:nvSpPr>
        <p:spPr>
          <a:xfrm>
            <a:off x="474797" y="2021816"/>
            <a:ext cx="744403" cy="335762"/>
          </a:xfrm>
          <a:prstGeom prst="rect">
            <a:avLst/>
          </a:prstGeom>
          <a:solidFill>
            <a:srgbClr val="00A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E61CEA0-BEC3-1407-2193-5F1D484973FD}"/>
              </a:ext>
            </a:extLst>
          </p:cNvPr>
          <p:cNvSpPr/>
          <p:nvPr/>
        </p:nvSpPr>
        <p:spPr>
          <a:xfrm>
            <a:off x="474798" y="3177493"/>
            <a:ext cx="744402" cy="335762"/>
          </a:xfrm>
          <a:prstGeom prst="rect">
            <a:avLst/>
          </a:prstGeom>
          <a:solidFill>
            <a:srgbClr val="EF64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F642B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6176F0A-F4B1-6244-6F49-66559AC25949}"/>
              </a:ext>
            </a:extLst>
          </p:cNvPr>
          <p:cNvSpPr txBox="1"/>
          <p:nvPr/>
        </p:nvSpPr>
        <p:spPr>
          <a:xfrm>
            <a:off x="438440" y="1996642"/>
            <a:ext cx="2148419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CS:  </a:t>
            </a:r>
            <a:r>
              <a:rPr kumimoji="0" lang="en-CA" sz="2000" i="0" u="none" strike="noStrike" kern="1200" cap="none" spc="0" normalizeH="0" baseline="0" noProof="0">
                <a:ln>
                  <a:noFill/>
                </a:ln>
                <a:solidFill>
                  <a:srgbClr val="4B4B5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arbon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i="0" u="none" strike="noStrike" kern="1200" cap="none" spc="0" normalizeH="0" baseline="0" noProof="0">
                <a:ln>
                  <a:noFill/>
                </a:ln>
                <a:solidFill>
                  <a:srgbClr val="4B4B5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apture and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i="0" u="none" strike="noStrike" kern="1200" cap="none" spc="0" normalizeH="0" baseline="0" noProof="0">
                <a:ln>
                  <a:noFill/>
                </a:ln>
                <a:solidFill>
                  <a:srgbClr val="4B4B5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torage</a:t>
            </a: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rgbClr val="4B4B5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2FCF14B-D4D5-841A-7041-A491FA5E13A8}"/>
              </a:ext>
            </a:extLst>
          </p:cNvPr>
          <p:cNvSpPr txBox="1"/>
          <p:nvPr/>
        </p:nvSpPr>
        <p:spPr>
          <a:xfrm>
            <a:off x="438440" y="3159019"/>
            <a:ext cx="605245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CU:  </a:t>
            </a:r>
            <a:r>
              <a:rPr kumimoji="0" lang="en-CA" sz="2000" i="0" u="none" strike="noStrike" kern="1200" cap="none" spc="0" normalizeH="0" baseline="0" noProof="0">
                <a:ln>
                  <a:noFill/>
                </a:ln>
                <a:solidFill>
                  <a:srgbClr val="4B4B5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arbon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i="0" u="none" strike="noStrike" kern="1200" cap="none" spc="0" normalizeH="0" baseline="0" noProof="0">
                <a:ln>
                  <a:noFill/>
                </a:ln>
                <a:solidFill>
                  <a:srgbClr val="4B4B5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apture and 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CA" sz="2000" i="0" u="none" strike="noStrike" kern="1200" cap="none" spc="0" normalizeH="0" baseline="0" noProof="0">
                <a:ln>
                  <a:noFill/>
                </a:ln>
                <a:solidFill>
                  <a:srgbClr val="4B4B5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utilization</a:t>
            </a: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rgbClr val="4B4B51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69" name="Google Shape;115;p16">
            <a:extLst>
              <a:ext uri="{FF2B5EF4-FFF2-40B4-BE49-F238E27FC236}">
                <a16:creationId xmlns:a16="http://schemas.microsoft.com/office/drawing/2014/main" id="{6622C0F8-7DBE-8550-9570-CA1D059FA88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1416" r="21411"/>
          <a:stretch/>
        </p:blipFill>
        <p:spPr>
          <a:xfrm>
            <a:off x="8735634" y="3420842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119;p16">
            <a:extLst>
              <a:ext uri="{FF2B5EF4-FFF2-40B4-BE49-F238E27FC236}">
                <a16:creationId xmlns:a16="http://schemas.microsoft.com/office/drawing/2014/main" id="{3A3436D0-A8C5-C4E7-E2F6-CFD920CEEB3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36352" r="6544" b="3409"/>
          <a:stretch/>
        </p:blipFill>
        <p:spPr>
          <a:xfrm>
            <a:off x="7020497" y="1706352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Picture 52">
            <a:extLst>
              <a:ext uri="{FF2B5EF4-FFF2-40B4-BE49-F238E27FC236}">
                <a16:creationId xmlns:a16="http://schemas.microsoft.com/office/drawing/2014/main" id="{610A3E76-49D0-5637-E71D-D922010108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3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92" r="16692"/>
          <a:stretch/>
        </p:blipFill>
        <p:spPr bwMode="auto">
          <a:xfrm>
            <a:off x="8742706" y="1706352"/>
            <a:ext cx="1728000" cy="172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Google Shape;123;p16">
            <a:extLst>
              <a:ext uri="{FF2B5EF4-FFF2-40B4-BE49-F238E27FC236}">
                <a16:creationId xmlns:a16="http://schemas.microsoft.com/office/drawing/2014/main" id="{E1F4971C-5E39-6967-2A9D-F6C481ECBEB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1">
            <a:alphaModFix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5486" t="15232" r="33969" b="36069"/>
          <a:stretch/>
        </p:blipFill>
        <p:spPr>
          <a:xfrm>
            <a:off x="8749411" y="-13954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137;p16">
            <a:extLst>
              <a:ext uri="{FF2B5EF4-FFF2-40B4-BE49-F238E27FC236}">
                <a16:creationId xmlns:a16="http://schemas.microsoft.com/office/drawing/2014/main" id="{46054B15-474C-B855-C30E-8219CA143D7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3">
            <a:alphaModFix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0610" r="14555"/>
          <a:stretch/>
        </p:blipFill>
        <p:spPr>
          <a:xfrm>
            <a:off x="7020497" y="-13954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Google Shape;142;p16">
            <a:extLst>
              <a:ext uri="{FF2B5EF4-FFF2-40B4-BE49-F238E27FC236}">
                <a16:creationId xmlns:a16="http://schemas.microsoft.com/office/drawing/2014/main" id="{6098D450-1DD8-2B25-72CC-B332EB67D5A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5">
            <a:alphaModFix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5366" t="21629" r="24649" b="19915"/>
          <a:stretch/>
        </p:blipFill>
        <p:spPr>
          <a:xfrm>
            <a:off x="7016418" y="3420842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Picture 50" descr="Organic Maize Farming, Cultivation Practices (Corn) | Agri Farming">
            <a:extLst>
              <a:ext uri="{FF2B5EF4-FFF2-40B4-BE49-F238E27FC236}">
                <a16:creationId xmlns:a16="http://schemas.microsoft.com/office/drawing/2014/main" id="{EA7FF959-A451-3AA7-8ADC-39A68348F915}"/>
              </a:ext>
            </a:extLst>
          </p:cNvPr>
          <p:cNvPicPr>
            <a:picLocks noChangeArrowheads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-3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75" t="11789" r="45077" b="29459"/>
          <a:stretch/>
        </p:blipFill>
        <p:spPr bwMode="auto">
          <a:xfrm>
            <a:off x="10463086" y="3420842"/>
            <a:ext cx="1728000" cy="17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Google Shape;125;p16">
            <a:extLst>
              <a:ext uri="{FF2B5EF4-FFF2-40B4-BE49-F238E27FC236}">
                <a16:creationId xmlns:a16="http://schemas.microsoft.com/office/drawing/2014/main" id="{8E8E6674-0854-20F3-651E-4DDBC65E20B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9">
            <a:alphaModFix/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35060"/>
          <a:stretch/>
        </p:blipFill>
        <p:spPr>
          <a:xfrm>
            <a:off x="10464000" y="-13954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Google Shape;124;p16">
            <a:extLst>
              <a:ext uri="{FF2B5EF4-FFF2-40B4-BE49-F238E27FC236}">
                <a16:creationId xmlns:a16="http://schemas.microsoft.com/office/drawing/2014/main" id="{68EEBA2E-E15D-627C-1B15-479D40CCC20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1">
            <a:alphaModFix/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43152"/>
          <a:stretch/>
        </p:blipFill>
        <p:spPr>
          <a:xfrm>
            <a:off x="10463086" y="1706352"/>
            <a:ext cx="1728000" cy="172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30;p16">
            <a:extLst>
              <a:ext uri="{FF2B5EF4-FFF2-40B4-BE49-F238E27FC236}">
                <a16:creationId xmlns:a16="http://schemas.microsoft.com/office/drawing/2014/main" id="{CAA582A6-3137-3CF2-3A46-C0D734740675}"/>
              </a:ext>
            </a:extLst>
          </p:cNvPr>
          <p:cNvSpPr txBox="1"/>
          <p:nvPr/>
        </p:nvSpPr>
        <p:spPr>
          <a:xfrm>
            <a:off x="8694521" y="4006207"/>
            <a:ext cx="1728000" cy="483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iochar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3" name="Google Shape;136;p16">
            <a:extLst>
              <a:ext uri="{FF2B5EF4-FFF2-40B4-BE49-F238E27FC236}">
                <a16:creationId xmlns:a16="http://schemas.microsoft.com/office/drawing/2014/main" id="{67AC40E1-61ED-9819-D80D-0E1E27003A68}"/>
              </a:ext>
            </a:extLst>
          </p:cNvPr>
          <p:cNvSpPr txBox="1"/>
          <p:nvPr/>
        </p:nvSpPr>
        <p:spPr>
          <a:xfrm>
            <a:off x="8776004" y="332299"/>
            <a:ext cx="1728000" cy="914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iomass CO</a:t>
            </a:r>
            <a:r>
              <a:rPr lang="en" sz="1400" b="1" baseline="-25000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2</a:t>
            </a:r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Removal &amp; </a:t>
            </a: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Storage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4" name="Google Shape;139;p16">
            <a:extLst>
              <a:ext uri="{FF2B5EF4-FFF2-40B4-BE49-F238E27FC236}">
                <a16:creationId xmlns:a16="http://schemas.microsoft.com/office/drawing/2014/main" id="{716A9003-055E-C9C3-A3F6-A0C9B77C0E03}"/>
              </a:ext>
            </a:extLst>
          </p:cNvPr>
          <p:cNvSpPr txBox="1"/>
          <p:nvPr/>
        </p:nvSpPr>
        <p:spPr>
          <a:xfrm>
            <a:off x="6993904" y="440020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CO</a:t>
            </a:r>
            <a:r>
              <a:rPr lang="en" sz="1400" b="1" baseline="-25000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2</a:t>
            </a:r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Mineraliz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5" name="Google Shape;140;p16">
            <a:extLst>
              <a:ext uri="{FF2B5EF4-FFF2-40B4-BE49-F238E27FC236}">
                <a16:creationId xmlns:a16="http://schemas.microsoft.com/office/drawing/2014/main" id="{F3B69F6A-F299-640F-F538-59E4D5FC4361}"/>
              </a:ext>
            </a:extLst>
          </p:cNvPr>
          <p:cNvSpPr txBox="1"/>
          <p:nvPr/>
        </p:nvSpPr>
        <p:spPr>
          <a:xfrm>
            <a:off x="7026204" y="2241637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lue Carb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Restor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6" name="Google Shape;145;p16">
            <a:extLst>
              <a:ext uri="{FF2B5EF4-FFF2-40B4-BE49-F238E27FC236}">
                <a16:creationId xmlns:a16="http://schemas.microsoft.com/office/drawing/2014/main" id="{F123F0C7-2411-37D2-9BBD-D9D855114ED8}"/>
              </a:ext>
            </a:extLst>
          </p:cNvPr>
          <p:cNvSpPr txBox="1"/>
          <p:nvPr/>
        </p:nvSpPr>
        <p:spPr>
          <a:xfrm>
            <a:off x="10477411" y="440020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Ocean Alkalinity Enhancement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7" name="Google Shape;148;p16">
            <a:extLst>
              <a:ext uri="{FF2B5EF4-FFF2-40B4-BE49-F238E27FC236}">
                <a16:creationId xmlns:a16="http://schemas.microsoft.com/office/drawing/2014/main" id="{B5C2AF7B-3FE0-8A0F-F395-F89FECD72A25}"/>
              </a:ext>
            </a:extLst>
          </p:cNvPr>
          <p:cNvSpPr txBox="1"/>
          <p:nvPr/>
        </p:nvSpPr>
        <p:spPr>
          <a:xfrm>
            <a:off x="8748334" y="2349359"/>
            <a:ext cx="1728000" cy="483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Forest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8" name="Google Shape;149;p16">
            <a:extLst>
              <a:ext uri="{FF2B5EF4-FFF2-40B4-BE49-F238E27FC236}">
                <a16:creationId xmlns:a16="http://schemas.microsoft.com/office/drawing/2014/main" id="{E2BA55AD-97CE-7A5D-4BE4-F8B84A8B9512}"/>
              </a:ext>
            </a:extLst>
          </p:cNvPr>
          <p:cNvSpPr txBox="1"/>
          <p:nvPr/>
        </p:nvSpPr>
        <p:spPr>
          <a:xfrm>
            <a:off x="10465904" y="2241637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Direct Air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Capture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9" name="Google Shape;150;p16">
            <a:extLst>
              <a:ext uri="{FF2B5EF4-FFF2-40B4-BE49-F238E27FC236}">
                <a16:creationId xmlns:a16="http://schemas.microsoft.com/office/drawing/2014/main" id="{8F957B25-B2AC-A002-01CB-AE630E9A4ACA}"/>
              </a:ext>
            </a:extLst>
          </p:cNvPr>
          <p:cNvSpPr txBox="1"/>
          <p:nvPr/>
        </p:nvSpPr>
        <p:spPr>
          <a:xfrm>
            <a:off x="7015404" y="3898485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ioliquid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Injec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12" name="Google Shape;149;p16">
            <a:extLst>
              <a:ext uri="{FF2B5EF4-FFF2-40B4-BE49-F238E27FC236}">
                <a16:creationId xmlns:a16="http://schemas.microsoft.com/office/drawing/2014/main" id="{4DE2AAE9-323D-ABD2-08A8-1C53424C718D}"/>
              </a:ext>
            </a:extLst>
          </p:cNvPr>
          <p:cNvSpPr txBox="1"/>
          <p:nvPr/>
        </p:nvSpPr>
        <p:spPr>
          <a:xfrm>
            <a:off x="10477411" y="3898485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Soil Carbon</a:t>
            </a:r>
          </a:p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Sequestr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pic>
        <p:nvPicPr>
          <p:cNvPr id="62" name="Picture 48">
            <a:extLst>
              <a:ext uri="{FF2B5EF4-FFF2-40B4-BE49-F238E27FC236}">
                <a16:creationId xmlns:a16="http://schemas.microsoft.com/office/drawing/2014/main" id="{08CD9214-49CB-6181-326A-7FED7F9FB880}"/>
              </a:ext>
            </a:extLst>
          </p:cNvPr>
          <p:cNvPicPr>
            <a:picLocks noChangeArrowheads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rightnessContrast bright="-3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 bwMode="auto">
          <a:xfrm>
            <a:off x="8742718" y="5134218"/>
            <a:ext cx="1728000" cy="17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Google Shape;126;p16">
            <a:extLst>
              <a:ext uri="{FF2B5EF4-FFF2-40B4-BE49-F238E27FC236}">
                <a16:creationId xmlns:a16="http://schemas.microsoft.com/office/drawing/2014/main" id="{ECF37070-539A-E1D2-DA83-09DD2D01D4B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5">
            <a:alphaModFix/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17803" r="27112"/>
          <a:stretch/>
        </p:blipFill>
        <p:spPr>
          <a:xfrm>
            <a:off x="7016418" y="5134218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117;p16">
            <a:extLst>
              <a:ext uri="{FF2B5EF4-FFF2-40B4-BE49-F238E27FC236}">
                <a16:creationId xmlns:a16="http://schemas.microsoft.com/office/drawing/2014/main" id="{2FD0AC78-FEEF-FCB3-B23E-E3BC059AE63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7">
            <a:alphaModFix/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34716" t="-311" r="8127" b="-311"/>
          <a:stretch/>
        </p:blipFill>
        <p:spPr>
          <a:xfrm>
            <a:off x="10469019" y="5134218"/>
            <a:ext cx="1728000" cy="172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31;p16">
            <a:extLst>
              <a:ext uri="{FF2B5EF4-FFF2-40B4-BE49-F238E27FC236}">
                <a16:creationId xmlns:a16="http://schemas.microsoft.com/office/drawing/2014/main" id="{A29184C7-9EC1-25BE-5ED3-2CC7AE0817E3}"/>
              </a:ext>
            </a:extLst>
          </p:cNvPr>
          <p:cNvSpPr txBox="1"/>
          <p:nvPr/>
        </p:nvSpPr>
        <p:spPr>
          <a:xfrm>
            <a:off x="7032002" y="5613808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Mineral Soil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Amendment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2" name="Google Shape;132;p16">
            <a:extLst>
              <a:ext uri="{FF2B5EF4-FFF2-40B4-BE49-F238E27FC236}">
                <a16:creationId xmlns:a16="http://schemas.microsoft.com/office/drawing/2014/main" id="{72B841B4-7E64-E61E-0CCD-D3C852CB36D9}"/>
              </a:ext>
            </a:extLst>
          </p:cNvPr>
          <p:cNvSpPr txBox="1"/>
          <p:nvPr/>
        </p:nvSpPr>
        <p:spPr>
          <a:xfrm>
            <a:off x="10453434" y="5613808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Peat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Restor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10" name="Google Shape;139;p16">
            <a:extLst>
              <a:ext uri="{FF2B5EF4-FFF2-40B4-BE49-F238E27FC236}">
                <a16:creationId xmlns:a16="http://schemas.microsoft.com/office/drawing/2014/main" id="{2B9761F9-DC53-C102-E1CF-74E814FD886F}"/>
              </a:ext>
            </a:extLst>
          </p:cNvPr>
          <p:cNvSpPr txBox="1"/>
          <p:nvPr/>
        </p:nvSpPr>
        <p:spPr>
          <a:xfrm>
            <a:off x="8742718" y="5613808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Frontier </a:t>
            </a:r>
          </a:p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CDR </a:t>
            </a:r>
          </a:p>
        </p:txBody>
      </p:sp>
      <p:sp>
        <p:nvSpPr>
          <p:cNvPr id="2" name="Freeform: Shape 1">
            <a:extLst>
              <a:ext uri="{FF2B5EF4-FFF2-40B4-BE49-F238E27FC236}">
                <a16:creationId xmlns:a16="http://schemas.microsoft.com/office/drawing/2014/main" id="{F3FDD70A-CB74-5145-9324-7D15391A6FD3}"/>
              </a:ext>
            </a:extLst>
          </p:cNvPr>
          <p:cNvSpPr/>
          <p:nvPr/>
        </p:nvSpPr>
        <p:spPr>
          <a:xfrm>
            <a:off x="4027040" y="2760613"/>
            <a:ext cx="1080000" cy="1080000"/>
          </a:xfrm>
          <a:custGeom>
            <a:avLst/>
            <a:gdLst>
              <a:gd name="connsiteX0" fmla="*/ 0 w 990226"/>
              <a:gd name="connsiteY0" fmla="*/ 495033 h 990225"/>
              <a:gd name="connsiteX1" fmla="*/ 495113 w 990226"/>
              <a:gd name="connsiteY1" fmla="*/ -80 h 990225"/>
              <a:gd name="connsiteX2" fmla="*/ 990226 w 990226"/>
              <a:gd name="connsiteY2" fmla="*/ 495033 h 990225"/>
              <a:gd name="connsiteX3" fmla="*/ 495113 w 990226"/>
              <a:gd name="connsiteY3" fmla="*/ 990146 h 990225"/>
              <a:gd name="connsiteX4" fmla="*/ 495075 w 990226"/>
              <a:gd name="connsiteY4" fmla="*/ 990146 h 990225"/>
              <a:gd name="connsiteX5" fmla="*/ 0 w 990226"/>
              <a:gd name="connsiteY5" fmla="*/ 495071 h 990225"/>
              <a:gd name="connsiteX6" fmla="*/ 0 w 990226"/>
              <a:gd name="connsiteY6" fmla="*/ 495033 h 99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90226" h="990225">
                <a:moveTo>
                  <a:pt x="0" y="495033"/>
                </a:moveTo>
                <a:cubicBezTo>
                  <a:pt x="0" y="221590"/>
                  <a:pt x="221670" y="-80"/>
                  <a:pt x="495113" y="-80"/>
                </a:cubicBezTo>
                <a:cubicBezTo>
                  <a:pt x="768557" y="-80"/>
                  <a:pt x="990226" y="221590"/>
                  <a:pt x="990226" y="495033"/>
                </a:cubicBezTo>
                <a:cubicBezTo>
                  <a:pt x="990226" y="768477"/>
                  <a:pt x="768557" y="990146"/>
                  <a:pt x="495113" y="990146"/>
                </a:cubicBezTo>
                <a:cubicBezTo>
                  <a:pt x="495100" y="990146"/>
                  <a:pt x="495088" y="990146"/>
                  <a:pt x="495075" y="990146"/>
                </a:cubicBezTo>
                <a:cubicBezTo>
                  <a:pt x="221653" y="990146"/>
                  <a:pt x="0" y="768494"/>
                  <a:pt x="0" y="495071"/>
                </a:cubicBezTo>
                <a:cubicBezTo>
                  <a:pt x="0" y="495059"/>
                  <a:pt x="0" y="495046"/>
                  <a:pt x="0" y="495033"/>
                </a:cubicBezTo>
              </a:path>
            </a:pathLst>
          </a:custGeom>
          <a:solidFill>
            <a:srgbClr val="595959"/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rgbClr val="595959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grpSp>
        <p:nvGrpSpPr>
          <p:cNvPr id="3" name="Graphic 10">
            <a:extLst>
              <a:ext uri="{FF2B5EF4-FFF2-40B4-BE49-F238E27FC236}">
                <a16:creationId xmlns:a16="http://schemas.microsoft.com/office/drawing/2014/main" id="{0C3F2287-56A2-21C7-35C9-060486519359}"/>
              </a:ext>
            </a:extLst>
          </p:cNvPr>
          <p:cNvGrpSpPr/>
          <p:nvPr/>
        </p:nvGrpSpPr>
        <p:grpSpPr>
          <a:xfrm>
            <a:off x="3937663" y="1811594"/>
            <a:ext cx="291566" cy="979667"/>
            <a:chOff x="8822194" y="1807038"/>
            <a:chExt cx="291566" cy="979667"/>
          </a:xfrm>
          <a:solidFill>
            <a:srgbClr val="EF642B"/>
          </a:solidFill>
        </p:grpSpPr>
        <p:sp>
          <p:nvSpPr>
            <p:cNvPr id="5" name="Freeform: Shape 4">
              <a:extLst>
                <a:ext uri="{FF2B5EF4-FFF2-40B4-BE49-F238E27FC236}">
                  <a16:creationId xmlns:a16="http://schemas.microsoft.com/office/drawing/2014/main" id="{AFD14B2A-87E9-5E6F-8500-7BF1A9E94676}"/>
                </a:ext>
              </a:extLst>
            </p:cNvPr>
            <p:cNvSpPr/>
            <p:nvPr/>
          </p:nvSpPr>
          <p:spPr>
            <a:xfrm>
              <a:off x="8839583" y="1831649"/>
              <a:ext cx="231943" cy="912632"/>
            </a:xfrm>
            <a:custGeom>
              <a:avLst/>
              <a:gdLst>
                <a:gd name="connsiteX0" fmla="*/ 194532 w 231943"/>
                <a:gd name="connsiteY0" fmla="*/ 912553 h 912632"/>
                <a:gd name="connsiteX1" fmla="*/ 168972 w 231943"/>
                <a:gd name="connsiteY1" fmla="*/ -80 h 912632"/>
                <a:gd name="connsiteX2" fmla="*/ 208243 w 231943"/>
                <a:gd name="connsiteY2" fmla="*/ 35014 h 912632"/>
                <a:gd name="connsiteX3" fmla="*/ 231943 w 231943"/>
                <a:gd name="connsiteY3" fmla="*/ 875332 h 9126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943" h="912632">
                  <a:moveTo>
                    <a:pt x="194532" y="912553"/>
                  </a:moveTo>
                  <a:cubicBezTo>
                    <a:pt x="-54627" y="663242"/>
                    <a:pt x="-65843" y="262786"/>
                    <a:pt x="168972" y="-80"/>
                  </a:cubicBezTo>
                  <a:lnTo>
                    <a:pt x="208243" y="35014"/>
                  </a:lnTo>
                  <a:cubicBezTo>
                    <a:pt x="-7869" y="277113"/>
                    <a:pt x="2529" y="645799"/>
                    <a:pt x="231943" y="875332"/>
                  </a:cubicBezTo>
                  <a:close/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6" name="Freeform: Shape 5">
              <a:extLst>
                <a:ext uri="{FF2B5EF4-FFF2-40B4-BE49-F238E27FC236}">
                  <a16:creationId xmlns:a16="http://schemas.microsoft.com/office/drawing/2014/main" id="{1F619443-6EC1-B016-FD3B-EA2FBAE0AF02}"/>
                </a:ext>
              </a:extLst>
            </p:cNvPr>
            <p:cNvSpPr/>
            <p:nvPr/>
          </p:nvSpPr>
          <p:spPr>
            <a:xfrm>
              <a:off x="8822194" y="1807038"/>
              <a:ext cx="273791" cy="961930"/>
            </a:xfrm>
            <a:custGeom>
              <a:avLst/>
              <a:gdLst>
                <a:gd name="connsiteX0" fmla="*/ 211922 w 273791"/>
                <a:gd name="connsiteY0" fmla="*/ 961851 h 961930"/>
                <a:gd name="connsiteX1" fmla="*/ 199578 w 273791"/>
                <a:gd name="connsiteY1" fmla="*/ 949507 h 961930"/>
                <a:gd name="connsiteX2" fmla="*/ 173372 w 273791"/>
                <a:gd name="connsiteY2" fmla="*/ 12910 h 961930"/>
                <a:gd name="connsiteX3" fmla="*/ 184994 w 273791"/>
                <a:gd name="connsiteY3" fmla="*/ -80 h 961930"/>
                <a:gd name="connsiteX4" fmla="*/ 250282 w 273791"/>
                <a:gd name="connsiteY4" fmla="*/ 58258 h 961930"/>
                <a:gd name="connsiteX5" fmla="*/ 238660 w 273791"/>
                <a:gd name="connsiteY5" fmla="*/ 71248 h 961930"/>
                <a:gd name="connsiteX6" fmla="*/ 261448 w 273791"/>
                <a:gd name="connsiteY6" fmla="*/ 887599 h 961930"/>
                <a:gd name="connsiteX7" fmla="*/ 273792 w 273791"/>
                <a:gd name="connsiteY7" fmla="*/ 899943 h 961930"/>
                <a:gd name="connsiteX8" fmla="*/ 187918 w 273791"/>
                <a:gd name="connsiteY8" fmla="*/ 49295 h 961930"/>
                <a:gd name="connsiteX9" fmla="*/ 212074 w 273791"/>
                <a:gd name="connsiteY9" fmla="*/ 912287 h 961930"/>
                <a:gd name="connsiteX10" fmla="*/ 224683 w 273791"/>
                <a:gd name="connsiteY10" fmla="*/ 899677 h 961930"/>
                <a:gd name="connsiteX11" fmla="*/ 201173 w 273791"/>
                <a:gd name="connsiteY11" fmla="*/ 61107 h 9619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3791" h="961930">
                  <a:moveTo>
                    <a:pt x="211922" y="961851"/>
                  </a:moveTo>
                  <a:lnTo>
                    <a:pt x="199578" y="949507"/>
                  </a:lnTo>
                  <a:cubicBezTo>
                    <a:pt x="-56052" y="693615"/>
                    <a:pt x="-67549" y="282696"/>
                    <a:pt x="173372" y="12910"/>
                  </a:cubicBezTo>
                  <a:lnTo>
                    <a:pt x="184994" y="-80"/>
                  </a:lnTo>
                  <a:lnTo>
                    <a:pt x="250282" y="58258"/>
                  </a:lnTo>
                  <a:lnTo>
                    <a:pt x="238660" y="71248"/>
                  </a:lnTo>
                  <a:cubicBezTo>
                    <a:pt x="28659" y="306384"/>
                    <a:pt x="38657" y="664544"/>
                    <a:pt x="261448" y="887599"/>
                  </a:cubicBezTo>
                  <a:lnTo>
                    <a:pt x="273792" y="899943"/>
                  </a:lnTo>
                  <a:close/>
                  <a:moveTo>
                    <a:pt x="187918" y="49295"/>
                  </a:moveTo>
                  <a:cubicBezTo>
                    <a:pt x="-25051" y="301109"/>
                    <a:pt x="-14648" y="672780"/>
                    <a:pt x="212074" y="912287"/>
                  </a:cubicBezTo>
                  <a:lnTo>
                    <a:pt x="224683" y="899677"/>
                  </a:lnTo>
                  <a:cubicBezTo>
                    <a:pt x="4611" y="666857"/>
                    <a:pt x="-5509" y="305892"/>
                    <a:pt x="201173" y="61107"/>
                  </a:cubicBezTo>
                  <a:close/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7" name="Freeform: Shape 6">
              <a:extLst>
                <a:ext uri="{FF2B5EF4-FFF2-40B4-BE49-F238E27FC236}">
                  <a16:creationId xmlns:a16="http://schemas.microsoft.com/office/drawing/2014/main" id="{B6B22EDF-E2FC-BA3C-6700-0EC46825872A}"/>
                </a:ext>
              </a:extLst>
            </p:cNvPr>
            <p:cNvSpPr/>
            <p:nvPr/>
          </p:nvSpPr>
          <p:spPr>
            <a:xfrm>
              <a:off x="8991578" y="2664522"/>
              <a:ext cx="104788" cy="104750"/>
            </a:xfrm>
            <a:custGeom>
              <a:avLst/>
              <a:gdLst>
                <a:gd name="connsiteX0" fmla="*/ 0 w 104788"/>
                <a:gd name="connsiteY0" fmla="*/ 104750 h 104750"/>
                <a:gd name="connsiteX1" fmla="*/ 104788 w 104788"/>
                <a:gd name="connsiteY1" fmla="*/ 104750 h 104750"/>
                <a:gd name="connsiteX2" fmla="*/ 104788 w 104788"/>
                <a:gd name="connsiteY2" fmla="*/ 0 h 104750"/>
                <a:gd name="connsiteX3" fmla="*/ 0 w 104788"/>
                <a:gd name="connsiteY3" fmla="*/ 104750 h 104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88" h="104750">
                  <a:moveTo>
                    <a:pt x="0" y="104750"/>
                  </a:moveTo>
                  <a:lnTo>
                    <a:pt x="104788" y="104750"/>
                  </a:lnTo>
                  <a:lnTo>
                    <a:pt x="104788" y="0"/>
                  </a:lnTo>
                  <a:lnTo>
                    <a:pt x="0" y="104750"/>
                  </a:lnTo>
                  <a:close/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60A6BCC3-3A7A-C7E8-CD1F-0C2F489B1B55}"/>
                </a:ext>
              </a:extLst>
            </p:cNvPr>
            <p:cNvSpPr/>
            <p:nvPr/>
          </p:nvSpPr>
          <p:spPr>
            <a:xfrm>
              <a:off x="8949457" y="2622402"/>
              <a:ext cx="164303" cy="164303"/>
            </a:xfrm>
            <a:custGeom>
              <a:avLst/>
              <a:gdLst>
                <a:gd name="connsiteX0" fmla="*/ 164303 w 164303"/>
                <a:gd name="connsiteY0" fmla="*/ 164224 h 164303"/>
                <a:gd name="connsiteX1" fmla="*/ 0 w 164303"/>
                <a:gd name="connsiteY1" fmla="*/ 164224 h 164303"/>
                <a:gd name="connsiteX2" fmla="*/ 164303 w 164303"/>
                <a:gd name="connsiteY2" fmla="*/ -80 h 164303"/>
                <a:gd name="connsiteX3" fmla="*/ 84089 w 164303"/>
                <a:gd name="connsiteY3" fmla="*/ 129358 h 164303"/>
                <a:gd name="connsiteX4" fmla="*/ 129324 w 164303"/>
                <a:gd name="connsiteY4" fmla="*/ 129358 h 164303"/>
                <a:gd name="connsiteX5" fmla="*/ 129324 w 164303"/>
                <a:gd name="connsiteY5" fmla="*/ 84085 h 164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303" h="164303">
                  <a:moveTo>
                    <a:pt x="164303" y="164224"/>
                  </a:moveTo>
                  <a:lnTo>
                    <a:pt x="0" y="164224"/>
                  </a:lnTo>
                  <a:lnTo>
                    <a:pt x="164303" y="-80"/>
                  </a:lnTo>
                  <a:close/>
                  <a:moveTo>
                    <a:pt x="84089" y="129358"/>
                  </a:moveTo>
                  <a:lnTo>
                    <a:pt x="129324" y="129358"/>
                  </a:lnTo>
                  <a:lnTo>
                    <a:pt x="129324" y="84085"/>
                  </a:lnTo>
                  <a:close/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grpSp>
        <p:nvGrpSpPr>
          <p:cNvPr id="9" name="Graphic 10">
            <a:extLst>
              <a:ext uri="{FF2B5EF4-FFF2-40B4-BE49-F238E27FC236}">
                <a16:creationId xmlns:a16="http://schemas.microsoft.com/office/drawing/2014/main" id="{FB4BE47B-DDCD-623D-2550-5D56E06D997A}"/>
              </a:ext>
            </a:extLst>
          </p:cNvPr>
          <p:cNvGrpSpPr/>
          <p:nvPr/>
        </p:nvGrpSpPr>
        <p:grpSpPr>
          <a:xfrm>
            <a:off x="4959024" y="1857512"/>
            <a:ext cx="272038" cy="963563"/>
            <a:chOff x="9843555" y="1852956"/>
            <a:chExt cx="272038" cy="963563"/>
          </a:xfrm>
          <a:solidFill>
            <a:srgbClr val="EF642B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30423225-C649-3706-05ED-51AFE2EAB098}"/>
                </a:ext>
              </a:extLst>
            </p:cNvPr>
            <p:cNvSpPr/>
            <p:nvPr/>
          </p:nvSpPr>
          <p:spPr>
            <a:xfrm>
              <a:off x="9868204" y="1896710"/>
              <a:ext cx="229915" cy="895199"/>
            </a:xfrm>
            <a:custGeom>
              <a:avLst/>
              <a:gdLst>
                <a:gd name="connsiteX0" fmla="*/ 37525 w 229915"/>
                <a:gd name="connsiteY0" fmla="*/ 895082 h 895199"/>
                <a:gd name="connsiteX1" fmla="*/ 0 w 229915"/>
                <a:gd name="connsiteY1" fmla="*/ 858089 h 895199"/>
                <a:gd name="connsiteX2" fmla="*/ 31752 w 229915"/>
                <a:gd name="connsiteY2" fmla="*/ 33913 h 895199"/>
                <a:gd name="connsiteX3" fmla="*/ 72011 w 229915"/>
                <a:gd name="connsiteY3" fmla="*/ -80 h 895199"/>
                <a:gd name="connsiteX4" fmla="*/ 37525 w 229915"/>
                <a:gd name="connsiteY4" fmla="*/ 895120 h 8951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29915" h="895199">
                  <a:moveTo>
                    <a:pt x="37525" y="895082"/>
                  </a:moveTo>
                  <a:lnTo>
                    <a:pt x="0" y="858089"/>
                  </a:lnTo>
                  <a:cubicBezTo>
                    <a:pt x="223365" y="633450"/>
                    <a:pt x="237172" y="275070"/>
                    <a:pt x="31752" y="33913"/>
                  </a:cubicBezTo>
                  <a:lnTo>
                    <a:pt x="72011" y="-80"/>
                  </a:lnTo>
                  <a:cubicBezTo>
                    <a:pt x="295070" y="264074"/>
                    <a:pt x="280220" y="648892"/>
                    <a:pt x="37525" y="895120"/>
                  </a:cubicBezTo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1" name="Freeform: Shape 10">
              <a:extLst>
                <a:ext uri="{FF2B5EF4-FFF2-40B4-BE49-F238E27FC236}">
                  <a16:creationId xmlns:a16="http://schemas.microsoft.com/office/drawing/2014/main" id="{668F9DC0-1161-8398-D4B7-8A3A5F987D82}"/>
                </a:ext>
              </a:extLst>
            </p:cNvPr>
            <p:cNvSpPr/>
            <p:nvPr/>
          </p:nvSpPr>
          <p:spPr>
            <a:xfrm>
              <a:off x="9843555" y="1872098"/>
              <a:ext cx="272038" cy="944421"/>
            </a:xfrm>
            <a:custGeom>
              <a:avLst/>
              <a:gdLst>
                <a:gd name="connsiteX0" fmla="*/ 62364 w 272038"/>
                <a:gd name="connsiteY0" fmla="*/ 944342 h 944421"/>
                <a:gd name="connsiteX1" fmla="*/ 0 w 272038"/>
                <a:gd name="connsiteY1" fmla="*/ 882890 h 944421"/>
                <a:gd name="connsiteX2" fmla="*/ 12230 w 272038"/>
                <a:gd name="connsiteY2" fmla="*/ 870470 h 944421"/>
                <a:gd name="connsiteX3" fmla="*/ 43108 w 272038"/>
                <a:gd name="connsiteY3" fmla="*/ 69729 h 944421"/>
                <a:gd name="connsiteX4" fmla="*/ 31714 w 272038"/>
                <a:gd name="connsiteY4" fmla="*/ 56435 h 944421"/>
                <a:gd name="connsiteX5" fmla="*/ 98597 w 272038"/>
                <a:gd name="connsiteY5" fmla="*/ -80 h 944421"/>
                <a:gd name="connsiteX6" fmla="*/ 109991 w 272038"/>
                <a:gd name="connsiteY6" fmla="*/ 13252 h 944421"/>
                <a:gd name="connsiteX7" fmla="*/ 74593 w 272038"/>
                <a:gd name="connsiteY7" fmla="*/ 931922 h 944421"/>
                <a:gd name="connsiteX8" fmla="*/ 49147 w 272038"/>
                <a:gd name="connsiteY8" fmla="*/ 882358 h 944421"/>
                <a:gd name="connsiteX9" fmla="*/ 61832 w 272038"/>
                <a:gd name="connsiteY9" fmla="*/ 894892 h 944421"/>
                <a:gd name="connsiteX10" fmla="*/ 94419 w 272038"/>
                <a:gd name="connsiteY10" fmla="*/ 49219 h 944421"/>
                <a:gd name="connsiteX11" fmla="*/ 80822 w 272038"/>
                <a:gd name="connsiteY11" fmla="*/ 60613 h 944421"/>
                <a:gd name="connsiteX12" fmla="*/ 49146 w 272038"/>
                <a:gd name="connsiteY12" fmla="*/ 882244 h 944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272038" h="944421">
                  <a:moveTo>
                    <a:pt x="62364" y="944342"/>
                  </a:moveTo>
                  <a:lnTo>
                    <a:pt x="0" y="882890"/>
                  </a:lnTo>
                  <a:lnTo>
                    <a:pt x="12230" y="870470"/>
                  </a:lnTo>
                  <a:cubicBezTo>
                    <a:pt x="229255" y="652228"/>
                    <a:pt x="242682" y="304035"/>
                    <a:pt x="43108" y="69729"/>
                  </a:cubicBezTo>
                  <a:lnTo>
                    <a:pt x="31714" y="56435"/>
                  </a:lnTo>
                  <a:lnTo>
                    <a:pt x="98597" y="-80"/>
                  </a:lnTo>
                  <a:lnTo>
                    <a:pt x="109991" y="13252"/>
                  </a:lnTo>
                  <a:cubicBezTo>
                    <a:pt x="338899" y="284318"/>
                    <a:pt x="323669" y="679239"/>
                    <a:pt x="74593" y="931922"/>
                  </a:cubicBezTo>
                  <a:close/>
                  <a:moveTo>
                    <a:pt x="49147" y="882358"/>
                  </a:moveTo>
                  <a:lnTo>
                    <a:pt x="61832" y="894892"/>
                  </a:lnTo>
                  <a:cubicBezTo>
                    <a:pt x="282487" y="660747"/>
                    <a:pt x="296402" y="299649"/>
                    <a:pt x="94419" y="49219"/>
                  </a:cubicBezTo>
                  <a:lnTo>
                    <a:pt x="80822" y="60613"/>
                  </a:lnTo>
                  <a:cubicBezTo>
                    <a:pt x="276826" y="304005"/>
                    <a:pt x="263307" y="654665"/>
                    <a:pt x="49146" y="882244"/>
                  </a:cubicBezTo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0054ECB3-8922-FFA9-6B07-C708B1053366}"/>
                </a:ext>
              </a:extLst>
            </p:cNvPr>
            <p:cNvSpPr/>
            <p:nvPr/>
          </p:nvSpPr>
          <p:spPr>
            <a:xfrm>
              <a:off x="9875041" y="1870389"/>
              <a:ext cx="104787" cy="104788"/>
            </a:xfrm>
            <a:custGeom>
              <a:avLst/>
              <a:gdLst>
                <a:gd name="connsiteX0" fmla="*/ 104788 w 104787"/>
                <a:gd name="connsiteY0" fmla="*/ 0 h 104788"/>
                <a:gd name="connsiteX1" fmla="*/ 0 w 104787"/>
                <a:gd name="connsiteY1" fmla="*/ 0 h 104788"/>
                <a:gd name="connsiteX2" fmla="*/ 0 w 104787"/>
                <a:gd name="connsiteY2" fmla="*/ 104788 h 104788"/>
                <a:gd name="connsiteX3" fmla="*/ 104788 w 104787"/>
                <a:gd name="connsiteY3" fmla="*/ 0 h 104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4787" h="104788">
                  <a:moveTo>
                    <a:pt x="104788" y="0"/>
                  </a:moveTo>
                  <a:lnTo>
                    <a:pt x="0" y="0"/>
                  </a:lnTo>
                  <a:lnTo>
                    <a:pt x="0" y="104788"/>
                  </a:lnTo>
                  <a:lnTo>
                    <a:pt x="104788" y="0"/>
                  </a:lnTo>
                  <a:close/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3D46F6E1-CC62-282C-32CB-087DDC7662F1}"/>
                </a:ext>
              </a:extLst>
            </p:cNvPr>
            <p:cNvSpPr/>
            <p:nvPr/>
          </p:nvSpPr>
          <p:spPr>
            <a:xfrm>
              <a:off x="9857722" y="1852956"/>
              <a:ext cx="164303" cy="164303"/>
            </a:xfrm>
            <a:custGeom>
              <a:avLst/>
              <a:gdLst>
                <a:gd name="connsiteX0" fmla="*/ 0 w 164303"/>
                <a:gd name="connsiteY0" fmla="*/ 164224 h 164303"/>
                <a:gd name="connsiteX1" fmla="*/ 0 w 164303"/>
                <a:gd name="connsiteY1" fmla="*/ -80 h 164303"/>
                <a:gd name="connsiteX2" fmla="*/ 164303 w 164303"/>
                <a:gd name="connsiteY2" fmla="*/ -80 h 164303"/>
                <a:gd name="connsiteX3" fmla="*/ 34866 w 164303"/>
                <a:gd name="connsiteY3" fmla="*/ 34786 h 164303"/>
                <a:gd name="connsiteX4" fmla="*/ 34866 w 164303"/>
                <a:gd name="connsiteY4" fmla="*/ 80173 h 164303"/>
                <a:gd name="connsiteX5" fmla="*/ 80101 w 164303"/>
                <a:gd name="connsiteY5" fmla="*/ 34900 h 1643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64303" h="164303">
                  <a:moveTo>
                    <a:pt x="0" y="164224"/>
                  </a:moveTo>
                  <a:lnTo>
                    <a:pt x="0" y="-80"/>
                  </a:lnTo>
                  <a:lnTo>
                    <a:pt x="164303" y="-80"/>
                  </a:lnTo>
                  <a:close/>
                  <a:moveTo>
                    <a:pt x="34866" y="34786"/>
                  </a:moveTo>
                  <a:lnTo>
                    <a:pt x="34866" y="80173"/>
                  </a:lnTo>
                  <a:lnTo>
                    <a:pt x="80101" y="34900"/>
                  </a:lnTo>
                  <a:close/>
                </a:path>
              </a:pathLst>
            </a:custGeom>
            <a:grpFill/>
            <a:ln w="379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8C3F2630-CDEB-2E1A-3A09-2C11B7C87C7B}"/>
              </a:ext>
            </a:extLst>
          </p:cNvPr>
          <p:cNvSpPr txBox="1"/>
          <p:nvPr/>
        </p:nvSpPr>
        <p:spPr>
          <a:xfrm>
            <a:off x="2853918" y="3069781"/>
            <a:ext cx="103746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aseline="0">
                <a:ln/>
                <a:solidFill>
                  <a:srgbClr val="595959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Short-term</a:t>
            </a:r>
          </a:p>
          <a:p>
            <a:pPr algn="r"/>
            <a:r>
              <a:rPr lang="en-US" sz="1200">
                <a:ln/>
                <a:solidFill>
                  <a:srgbClr val="595959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storage</a:t>
            </a:r>
            <a:endParaRPr lang="en-US" sz="1200" baseline="0">
              <a:ln/>
              <a:solidFill>
                <a:srgbClr val="595959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  <a:rtl val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F8DC24-55B2-F628-282F-C28A4EF6C782}"/>
              </a:ext>
            </a:extLst>
          </p:cNvPr>
          <p:cNvSpPr txBox="1"/>
          <p:nvPr/>
        </p:nvSpPr>
        <p:spPr>
          <a:xfrm>
            <a:off x="4181195" y="2112354"/>
            <a:ext cx="764953" cy="4007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4" b="1" baseline="0">
                <a:ln/>
                <a:solidFill>
                  <a:srgbClr val="EF642B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CCU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8F366831-099B-1615-3444-9DEC05F26EE3}"/>
              </a:ext>
            </a:extLst>
          </p:cNvPr>
          <p:cNvSpPr/>
          <p:nvPr/>
        </p:nvSpPr>
        <p:spPr>
          <a:xfrm>
            <a:off x="3667423" y="3870092"/>
            <a:ext cx="1007279" cy="1631982"/>
          </a:xfrm>
          <a:custGeom>
            <a:avLst/>
            <a:gdLst>
              <a:gd name="connsiteX0" fmla="*/ 870310 w 1007279"/>
              <a:gd name="connsiteY0" fmla="*/ 1022509 h 1631982"/>
              <a:gd name="connsiteX1" fmla="*/ 946575 w 1007279"/>
              <a:gd name="connsiteY1" fmla="*/ 1022509 h 1631982"/>
              <a:gd name="connsiteX2" fmla="*/ 946575 w 1007279"/>
              <a:gd name="connsiteY2" fmla="*/ 1037702 h 1631982"/>
              <a:gd name="connsiteX3" fmla="*/ 472311 w 1007279"/>
              <a:gd name="connsiteY3" fmla="*/ 1619774 h 1631982"/>
              <a:gd name="connsiteX4" fmla="*/ 365186 w 1007279"/>
              <a:gd name="connsiteY4" fmla="*/ 1630681 h 1631982"/>
              <a:gd name="connsiteX5" fmla="*/ 365186 w 1007279"/>
              <a:gd name="connsiteY5" fmla="*/ 1631678 h 1631982"/>
              <a:gd name="connsiteX6" fmla="*/ 355391 w 1007279"/>
              <a:gd name="connsiteY6" fmla="*/ 1631678 h 1631982"/>
              <a:gd name="connsiteX7" fmla="*/ 352788 w 1007279"/>
              <a:gd name="connsiteY7" fmla="*/ 1631943 h 1631982"/>
              <a:gd name="connsiteX8" fmla="*/ 337596 w 1007279"/>
              <a:gd name="connsiteY8" fmla="*/ 1631982 h 1631982"/>
              <a:gd name="connsiteX9" fmla="*/ 337596 w 1007279"/>
              <a:gd name="connsiteY9" fmla="*/ 1631678 h 1631982"/>
              <a:gd name="connsiteX10" fmla="*/ 0 w 1007279"/>
              <a:gd name="connsiteY10" fmla="*/ 1631678 h 1631982"/>
              <a:gd name="connsiteX11" fmla="*/ 0 w 1007279"/>
              <a:gd name="connsiteY11" fmla="*/ 1555375 h 1631982"/>
              <a:gd name="connsiteX12" fmla="*/ 355767 w 1007279"/>
              <a:gd name="connsiteY12" fmla="*/ 1555375 h 1631982"/>
              <a:gd name="connsiteX13" fmla="*/ 456951 w 1007279"/>
              <a:gd name="connsiteY13" fmla="*/ 1545050 h 1631982"/>
              <a:gd name="connsiteX14" fmla="*/ 870310 w 1007279"/>
              <a:gd name="connsiteY14" fmla="*/ 1037702 h 1631982"/>
              <a:gd name="connsiteX15" fmla="*/ 906023 w 1007279"/>
              <a:gd name="connsiteY15" fmla="*/ 0 h 1631982"/>
              <a:gd name="connsiteX16" fmla="*/ 1007279 w 1007279"/>
              <a:gd name="connsiteY16" fmla="*/ 101218 h 1631982"/>
              <a:gd name="connsiteX17" fmla="*/ 947461 w 1007279"/>
              <a:gd name="connsiteY17" fmla="*/ 101218 h 1631982"/>
              <a:gd name="connsiteX18" fmla="*/ 947461 w 1007279"/>
              <a:gd name="connsiteY18" fmla="*/ 1022472 h 1631982"/>
              <a:gd name="connsiteX19" fmla="*/ 871158 w 1007279"/>
              <a:gd name="connsiteY19" fmla="*/ 1022472 h 1631982"/>
              <a:gd name="connsiteX20" fmla="*/ 871158 w 1007279"/>
              <a:gd name="connsiteY20" fmla="*/ 101218 h 1631982"/>
              <a:gd name="connsiteX21" fmla="*/ 804805 w 1007279"/>
              <a:gd name="connsiteY21" fmla="*/ 101218 h 16319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07279" h="1631982">
                <a:moveTo>
                  <a:pt x="870310" y="1022509"/>
                </a:moveTo>
                <a:lnTo>
                  <a:pt x="946575" y="1022509"/>
                </a:lnTo>
                <a:lnTo>
                  <a:pt x="946575" y="1037702"/>
                </a:lnTo>
                <a:cubicBezTo>
                  <a:pt x="946575" y="1324203"/>
                  <a:pt x="742645" y="1564119"/>
                  <a:pt x="472311" y="1619774"/>
                </a:cubicBezTo>
                <a:lnTo>
                  <a:pt x="365186" y="1630681"/>
                </a:lnTo>
                <a:lnTo>
                  <a:pt x="365186" y="1631678"/>
                </a:lnTo>
                <a:lnTo>
                  <a:pt x="355391" y="1631678"/>
                </a:lnTo>
                <a:lnTo>
                  <a:pt x="352788" y="1631943"/>
                </a:lnTo>
                <a:lnTo>
                  <a:pt x="337596" y="1631982"/>
                </a:lnTo>
                <a:lnTo>
                  <a:pt x="337596" y="1631678"/>
                </a:lnTo>
                <a:lnTo>
                  <a:pt x="0" y="1631678"/>
                </a:lnTo>
                <a:lnTo>
                  <a:pt x="0" y="1555375"/>
                </a:lnTo>
                <a:lnTo>
                  <a:pt x="355767" y="1555375"/>
                </a:lnTo>
                <a:lnTo>
                  <a:pt x="456951" y="1545050"/>
                </a:lnTo>
                <a:cubicBezTo>
                  <a:pt x="692551" y="1496494"/>
                  <a:pt x="870310" y="1287381"/>
                  <a:pt x="870310" y="1037702"/>
                </a:cubicBezTo>
                <a:close/>
                <a:moveTo>
                  <a:pt x="906023" y="0"/>
                </a:moveTo>
                <a:lnTo>
                  <a:pt x="1007279" y="101218"/>
                </a:lnTo>
                <a:lnTo>
                  <a:pt x="947461" y="101218"/>
                </a:lnTo>
                <a:lnTo>
                  <a:pt x="947461" y="1022472"/>
                </a:lnTo>
                <a:lnTo>
                  <a:pt x="871158" y="1022472"/>
                </a:lnTo>
                <a:lnTo>
                  <a:pt x="871158" y="101218"/>
                </a:lnTo>
                <a:lnTo>
                  <a:pt x="804805" y="101218"/>
                </a:lnTo>
                <a:close/>
              </a:path>
            </a:pathLst>
          </a:custGeom>
          <a:solidFill>
            <a:srgbClr val="595959"/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2B03627D-132F-3F92-0CC6-128630E2221E}"/>
              </a:ext>
            </a:extLst>
          </p:cNvPr>
          <p:cNvSpPr/>
          <p:nvPr/>
        </p:nvSpPr>
        <p:spPr>
          <a:xfrm>
            <a:off x="5558924" y="5042072"/>
            <a:ext cx="1080000" cy="1080000"/>
          </a:xfrm>
          <a:custGeom>
            <a:avLst/>
            <a:gdLst>
              <a:gd name="connsiteX0" fmla="*/ 1010280 w 1010279"/>
              <a:gd name="connsiteY0" fmla="*/ 505060 h 1010279"/>
              <a:gd name="connsiteX1" fmla="*/ 505140 w 1010279"/>
              <a:gd name="connsiteY1" fmla="*/ 1010200 h 1010279"/>
              <a:gd name="connsiteX2" fmla="*/ 0 w 1010279"/>
              <a:gd name="connsiteY2" fmla="*/ 505060 h 1010279"/>
              <a:gd name="connsiteX3" fmla="*/ 505140 w 1010279"/>
              <a:gd name="connsiteY3" fmla="*/ -80 h 1010279"/>
              <a:gd name="connsiteX4" fmla="*/ 1010280 w 1010279"/>
              <a:gd name="connsiteY4" fmla="*/ 505060 h 1010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279" h="1010279">
                <a:moveTo>
                  <a:pt x="1010280" y="505060"/>
                </a:moveTo>
                <a:cubicBezTo>
                  <a:pt x="1010280" y="784041"/>
                  <a:pt x="784121" y="1010200"/>
                  <a:pt x="505140" y="1010200"/>
                </a:cubicBezTo>
                <a:cubicBezTo>
                  <a:pt x="226159" y="1010200"/>
                  <a:pt x="0" y="784041"/>
                  <a:pt x="0" y="505060"/>
                </a:cubicBezTo>
                <a:cubicBezTo>
                  <a:pt x="0" y="226079"/>
                  <a:pt x="226159" y="-80"/>
                  <a:pt x="505140" y="-80"/>
                </a:cubicBezTo>
                <a:cubicBezTo>
                  <a:pt x="784121" y="-80"/>
                  <a:pt x="1010280" y="226079"/>
                  <a:pt x="1010280" y="505060"/>
                </a:cubicBezTo>
              </a:path>
            </a:pathLst>
          </a:custGeom>
          <a:solidFill>
            <a:srgbClr val="008AF1"/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C457D656-F3EC-F23D-9805-04A889AA3A21}"/>
              </a:ext>
            </a:extLst>
          </p:cNvPr>
          <p:cNvSpPr/>
          <p:nvPr/>
        </p:nvSpPr>
        <p:spPr>
          <a:xfrm>
            <a:off x="4035416" y="724556"/>
            <a:ext cx="1074998" cy="1074998"/>
          </a:xfrm>
          <a:custGeom>
            <a:avLst/>
            <a:gdLst>
              <a:gd name="connsiteX0" fmla="*/ 1074999 w 1074998"/>
              <a:gd name="connsiteY0" fmla="*/ 537382 h 1074998"/>
              <a:gd name="connsiteX1" fmla="*/ 537537 w 1074998"/>
              <a:gd name="connsiteY1" fmla="*/ 1074919 h 1074998"/>
              <a:gd name="connsiteX2" fmla="*/ 0 w 1074998"/>
              <a:gd name="connsiteY2" fmla="*/ 537458 h 1074998"/>
              <a:gd name="connsiteX3" fmla="*/ 537461 w 1074998"/>
              <a:gd name="connsiteY3" fmla="*/ -80 h 1074998"/>
              <a:gd name="connsiteX4" fmla="*/ 537537 w 1074998"/>
              <a:gd name="connsiteY4" fmla="*/ -80 h 1074998"/>
              <a:gd name="connsiteX5" fmla="*/ 1074999 w 1074998"/>
              <a:gd name="connsiteY5" fmla="*/ 537382 h 1074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4998" h="1074998">
                <a:moveTo>
                  <a:pt x="1074999" y="537382"/>
                </a:moveTo>
                <a:cubicBezTo>
                  <a:pt x="1075020" y="834234"/>
                  <a:pt x="834390" y="1074898"/>
                  <a:pt x="537537" y="1074919"/>
                </a:cubicBezTo>
                <a:cubicBezTo>
                  <a:pt x="240685" y="1074940"/>
                  <a:pt x="21" y="834310"/>
                  <a:pt x="0" y="537458"/>
                </a:cubicBezTo>
                <a:cubicBezTo>
                  <a:pt x="-21" y="240605"/>
                  <a:pt x="240609" y="-59"/>
                  <a:pt x="537461" y="-80"/>
                </a:cubicBezTo>
                <a:cubicBezTo>
                  <a:pt x="537487" y="-80"/>
                  <a:pt x="537512" y="-80"/>
                  <a:pt x="537537" y="-80"/>
                </a:cubicBezTo>
                <a:cubicBezTo>
                  <a:pt x="834369" y="-80"/>
                  <a:pt x="1074999" y="240550"/>
                  <a:pt x="1074999" y="537382"/>
                </a:cubicBezTo>
              </a:path>
            </a:pathLst>
          </a:custGeom>
          <a:solidFill>
            <a:srgbClr val="595959"/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61151240-988B-2D99-81B5-922C64DB2FC5}"/>
              </a:ext>
            </a:extLst>
          </p:cNvPr>
          <p:cNvSpPr/>
          <p:nvPr/>
        </p:nvSpPr>
        <p:spPr>
          <a:xfrm>
            <a:off x="2526864" y="5032372"/>
            <a:ext cx="1080000" cy="1080000"/>
          </a:xfrm>
          <a:custGeom>
            <a:avLst/>
            <a:gdLst>
              <a:gd name="connsiteX0" fmla="*/ 1010280 w 1010279"/>
              <a:gd name="connsiteY0" fmla="*/ 505060 h 1010279"/>
              <a:gd name="connsiteX1" fmla="*/ 505140 w 1010279"/>
              <a:gd name="connsiteY1" fmla="*/ 1010200 h 1010279"/>
              <a:gd name="connsiteX2" fmla="*/ 0 w 1010279"/>
              <a:gd name="connsiteY2" fmla="*/ 505060 h 1010279"/>
              <a:gd name="connsiteX3" fmla="*/ 505140 w 1010279"/>
              <a:gd name="connsiteY3" fmla="*/ -80 h 1010279"/>
              <a:gd name="connsiteX4" fmla="*/ 1010280 w 1010279"/>
              <a:gd name="connsiteY4" fmla="*/ 505060 h 10102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10279" h="1010279">
                <a:moveTo>
                  <a:pt x="1010280" y="505060"/>
                </a:moveTo>
                <a:cubicBezTo>
                  <a:pt x="1010280" y="784041"/>
                  <a:pt x="784121" y="1010200"/>
                  <a:pt x="505140" y="1010200"/>
                </a:cubicBezTo>
                <a:cubicBezTo>
                  <a:pt x="226159" y="1010200"/>
                  <a:pt x="0" y="784041"/>
                  <a:pt x="0" y="505060"/>
                </a:cubicBezTo>
                <a:cubicBezTo>
                  <a:pt x="0" y="226079"/>
                  <a:pt x="226159" y="-80"/>
                  <a:pt x="505140" y="-80"/>
                </a:cubicBezTo>
                <a:cubicBezTo>
                  <a:pt x="784121" y="-80"/>
                  <a:pt x="1010280" y="226079"/>
                  <a:pt x="1010280" y="505060"/>
                </a:cubicBezTo>
              </a:path>
            </a:pathLst>
          </a:custGeom>
          <a:solidFill>
            <a:srgbClr val="595959"/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3E0D73EA-3177-FF82-2074-5F1343262603}"/>
              </a:ext>
            </a:extLst>
          </p:cNvPr>
          <p:cNvSpPr/>
          <p:nvPr/>
        </p:nvSpPr>
        <p:spPr>
          <a:xfrm>
            <a:off x="6089702" y="1797693"/>
            <a:ext cx="11052" cy="3088645"/>
          </a:xfrm>
          <a:custGeom>
            <a:avLst/>
            <a:gdLst>
              <a:gd name="connsiteX0" fmla="*/ 11052 w 11052"/>
              <a:gd name="connsiteY0" fmla="*/ 3088646 h 3088645"/>
              <a:gd name="connsiteX1" fmla="*/ 0 w 11052"/>
              <a:gd name="connsiteY1" fmla="*/ 0 h 3088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52" h="3088645">
                <a:moveTo>
                  <a:pt x="11052" y="3088646"/>
                </a:moveTo>
                <a:lnTo>
                  <a:pt x="0" y="0"/>
                </a:lnTo>
              </a:path>
            </a:pathLst>
          </a:custGeom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75B33A55-6127-9EE8-4FF3-0973521ED408}"/>
              </a:ext>
            </a:extLst>
          </p:cNvPr>
          <p:cNvSpPr/>
          <p:nvPr/>
        </p:nvSpPr>
        <p:spPr>
          <a:xfrm>
            <a:off x="5185084" y="1200105"/>
            <a:ext cx="1006975" cy="3776019"/>
          </a:xfrm>
          <a:custGeom>
            <a:avLst/>
            <a:gdLst>
              <a:gd name="connsiteX0" fmla="*/ 348622 w 1006975"/>
              <a:gd name="connsiteY0" fmla="*/ 0 h 3776019"/>
              <a:gd name="connsiteX1" fmla="*/ 349789 w 1006975"/>
              <a:gd name="connsiteY1" fmla="*/ 118 h 3776019"/>
              <a:gd name="connsiteX2" fmla="*/ 363321 w 1006975"/>
              <a:gd name="connsiteY2" fmla="*/ 118 h 3776019"/>
              <a:gd name="connsiteX3" fmla="*/ 363321 w 1006975"/>
              <a:gd name="connsiteY3" fmla="*/ 1487 h 3776019"/>
              <a:gd name="connsiteX4" fmla="*/ 468881 w 1006975"/>
              <a:gd name="connsiteY4" fmla="*/ 12160 h 3776019"/>
              <a:gd name="connsiteX5" fmla="*/ 936744 w 1006975"/>
              <a:gd name="connsiteY5" fmla="*/ 491847 h 3776019"/>
              <a:gd name="connsiteX6" fmla="*/ 946087 w 1006975"/>
              <a:gd name="connsiteY6" fmla="*/ 597398 h 3776019"/>
              <a:gd name="connsiteX7" fmla="*/ 946092 w 1006975"/>
              <a:gd name="connsiteY7" fmla="*/ 597398 h 3776019"/>
              <a:gd name="connsiteX8" fmla="*/ 946092 w 1006975"/>
              <a:gd name="connsiteY8" fmla="*/ 597463 h 3776019"/>
              <a:gd name="connsiteX9" fmla="*/ 946093 w 1006975"/>
              <a:gd name="connsiteY9" fmla="*/ 597471 h 3776019"/>
              <a:gd name="connsiteX10" fmla="*/ 946092 w 1006975"/>
              <a:gd name="connsiteY10" fmla="*/ 597473 h 3776019"/>
              <a:gd name="connsiteX11" fmla="*/ 957178 w 1006975"/>
              <a:gd name="connsiteY11" fmla="*/ 3684752 h 3776019"/>
              <a:gd name="connsiteX12" fmla="*/ 1006975 w 1006975"/>
              <a:gd name="connsiteY12" fmla="*/ 3684752 h 3776019"/>
              <a:gd name="connsiteX13" fmla="*/ 915708 w 1006975"/>
              <a:gd name="connsiteY13" fmla="*/ 3776019 h 3776019"/>
              <a:gd name="connsiteX14" fmla="*/ 824403 w 1006975"/>
              <a:gd name="connsiteY14" fmla="*/ 3684752 h 3776019"/>
              <a:gd name="connsiteX15" fmla="*/ 874227 w 1006975"/>
              <a:gd name="connsiteY15" fmla="*/ 3684752 h 3776019"/>
              <a:gd name="connsiteX16" fmla="*/ 863143 w 1006975"/>
              <a:gd name="connsiteY16" fmla="*/ 597778 h 3776019"/>
              <a:gd name="connsiteX17" fmla="*/ 863498 w 1006975"/>
              <a:gd name="connsiteY17" fmla="*/ 597777 h 3776019"/>
              <a:gd name="connsiteX18" fmla="*/ 863371 w 1006975"/>
              <a:gd name="connsiteY18" fmla="*/ 597471 h 3776019"/>
              <a:gd name="connsiteX19" fmla="*/ 348622 w 1006975"/>
              <a:gd name="connsiteY19" fmla="*/ 82760 h 3776019"/>
              <a:gd name="connsiteX20" fmla="*/ 348040 w 1006975"/>
              <a:gd name="connsiteY20" fmla="*/ 82498 h 3776019"/>
              <a:gd name="connsiteX21" fmla="*/ 0 w 1006975"/>
              <a:gd name="connsiteY21" fmla="*/ 82498 h 3776019"/>
              <a:gd name="connsiteX22" fmla="*/ 0 w 1006975"/>
              <a:gd name="connsiteY22" fmla="*/ 118 h 3776019"/>
              <a:gd name="connsiteX23" fmla="*/ 348349 w 1006975"/>
              <a:gd name="connsiteY23" fmla="*/ 118 h 37760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006975" h="3776019">
                <a:moveTo>
                  <a:pt x="348622" y="0"/>
                </a:moveTo>
                <a:lnTo>
                  <a:pt x="349789" y="118"/>
                </a:lnTo>
                <a:lnTo>
                  <a:pt x="363321" y="118"/>
                </a:lnTo>
                <a:lnTo>
                  <a:pt x="363321" y="1487"/>
                </a:lnTo>
                <a:lnTo>
                  <a:pt x="468881" y="12160"/>
                </a:lnTo>
                <a:cubicBezTo>
                  <a:pt x="706884" y="60991"/>
                  <a:pt x="893747" y="251796"/>
                  <a:pt x="936744" y="491847"/>
                </a:cubicBezTo>
                <a:lnTo>
                  <a:pt x="946087" y="597398"/>
                </a:lnTo>
                <a:lnTo>
                  <a:pt x="946092" y="597398"/>
                </a:lnTo>
                <a:lnTo>
                  <a:pt x="946092" y="597463"/>
                </a:lnTo>
                <a:lnTo>
                  <a:pt x="946093" y="597471"/>
                </a:lnTo>
                <a:lnTo>
                  <a:pt x="946092" y="597473"/>
                </a:lnTo>
                <a:lnTo>
                  <a:pt x="957178" y="3684752"/>
                </a:lnTo>
                <a:lnTo>
                  <a:pt x="1006975" y="3684752"/>
                </a:lnTo>
                <a:lnTo>
                  <a:pt x="915708" y="3776019"/>
                </a:lnTo>
                <a:lnTo>
                  <a:pt x="824403" y="3684752"/>
                </a:lnTo>
                <a:lnTo>
                  <a:pt x="874227" y="3684752"/>
                </a:lnTo>
                <a:lnTo>
                  <a:pt x="863143" y="597778"/>
                </a:lnTo>
                <a:lnTo>
                  <a:pt x="863498" y="597777"/>
                </a:lnTo>
                <a:lnTo>
                  <a:pt x="863371" y="597471"/>
                </a:lnTo>
                <a:cubicBezTo>
                  <a:pt x="863371" y="313643"/>
                  <a:pt x="632450" y="82760"/>
                  <a:pt x="348622" y="82760"/>
                </a:cubicBezTo>
                <a:lnTo>
                  <a:pt x="348040" y="82498"/>
                </a:lnTo>
                <a:lnTo>
                  <a:pt x="0" y="82498"/>
                </a:lnTo>
                <a:lnTo>
                  <a:pt x="0" y="118"/>
                </a:lnTo>
                <a:lnTo>
                  <a:pt x="348349" y="118"/>
                </a:lnTo>
                <a:close/>
              </a:path>
            </a:pathLst>
          </a:custGeom>
          <a:solidFill>
            <a:srgbClr val="008BF6"/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9A8900E4-01AF-172F-4637-5181DE0B25C7}"/>
              </a:ext>
            </a:extLst>
          </p:cNvPr>
          <p:cNvSpPr/>
          <p:nvPr/>
        </p:nvSpPr>
        <p:spPr>
          <a:xfrm>
            <a:off x="3067978" y="1787248"/>
            <a:ext cx="11090" cy="3188686"/>
          </a:xfrm>
          <a:custGeom>
            <a:avLst/>
            <a:gdLst>
              <a:gd name="connsiteX0" fmla="*/ 0 w 11090"/>
              <a:gd name="connsiteY0" fmla="*/ 3188686 h 3188686"/>
              <a:gd name="connsiteX1" fmla="*/ 11090 w 11090"/>
              <a:gd name="connsiteY1" fmla="*/ 0 h 318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090" h="3188686">
                <a:moveTo>
                  <a:pt x="0" y="3188686"/>
                </a:moveTo>
                <a:lnTo>
                  <a:pt x="11090" y="0"/>
                </a:lnTo>
              </a:path>
            </a:pathLst>
          </a:custGeom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Freeform: Shape 28">
            <a:extLst>
              <a:ext uri="{FF2B5EF4-FFF2-40B4-BE49-F238E27FC236}">
                <a16:creationId xmlns:a16="http://schemas.microsoft.com/office/drawing/2014/main" id="{88493FD5-7D96-CF16-3BE1-5BDF97BF4903}"/>
              </a:ext>
            </a:extLst>
          </p:cNvPr>
          <p:cNvSpPr/>
          <p:nvPr/>
        </p:nvSpPr>
        <p:spPr>
          <a:xfrm>
            <a:off x="3679615" y="5588597"/>
            <a:ext cx="1729173" cy="3798"/>
          </a:xfrm>
          <a:custGeom>
            <a:avLst/>
            <a:gdLst>
              <a:gd name="connsiteX0" fmla="*/ 0 w 1729173"/>
              <a:gd name="connsiteY0" fmla="*/ 0 h 3798"/>
              <a:gd name="connsiteX1" fmla="*/ 1729174 w 1729173"/>
              <a:gd name="connsiteY1" fmla="*/ 0 h 3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729173" h="3798">
                <a:moveTo>
                  <a:pt x="0" y="0"/>
                </a:moveTo>
                <a:lnTo>
                  <a:pt x="1729174" y="0"/>
                </a:lnTo>
              </a:path>
            </a:pathLst>
          </a:custGeom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0" name="Freeform: Shape 29">
            <a:extLst>
              <a:ext uri="{FF2B5EF4-FFF2-40B4-BE49-F238E27FC236}">
                <a16:creationId xmlns:a16="http://schemas.microsoft.com/office/drawing/2014/main" id="{D4F43B86-1139-3A26-B0D3-DA3697A2EE76}"/>
              </a:ext>
            </a:extLst>
          </p:cNvPr>
          <p:cNvSpPr/>
          <p:nvPr/>
        </p:nvSpPr>
        <p:spPr>
          <a:xfrm>
            <a:off x="3664421" y="5502662"/>
            <a:ext cx="1798108" cy="202474"/>
          </a:xfrm>
          <a:custGeom>
            <a:avLst/>
            <a:gdLst>
              <a:gd name="connsiteX0" fmla="*/ 1696890 w 1798108"/>
              <a:gd name="connsiteY0" fmla="*/ 0 h 202474"/>
              <a:gd name="connsiteX1" fmla="*/ 1798108 w 1798108"/>
              <a:gd name="connsiteY1" fmla="*/ 101256 h 202474"/>
              <a:gd name="connsiteX2" fmla="*/ 1759558 w 1798108"/>
              <a:gd name="connsiteY2" fmla="*/ 139806 h 202474"/>
              <a:gd name="connsiteX3" fmla="*/ 1759558 w 1798108"/>
              <a:gd name="connsiteY3" fmla="*/ 142464 h 202474"/>
              <a:gd name="connsiteX4" fmla="*/ 1756900 w 1798108"/>
              <a:gd name="connsiteY4" fmla="*/ 142464 h 202474"/>
              <a:gd name="connsiteX5" fmla="*/ 1696890 w 1798108"/>
              <a:gd name="connsiteY5" fmla="*/ 202474 h 202474"/>
              <a:gd name="connsiteX6" fmla="*/ 1696890 w 1798108"/>
              <a:gd name="connsiteY6" fmla="*/ 142464 h 202474"/>
              <a:gd name="connsiteX7" fmla="*/ 0 w 1798108"/>
              <a:gd name="connsiteY7" fmla="*/ 142464 h 202474"/>
              <a:gd name="connsiteX8" fmla="*/ 0 w 1798108"/>
              <a:gd name="connsiteY8" fmla="*/ 66161 h 202474"/>
              <a:gd name="connsiteX9" fmla="*/ 1696890 w 1798108"/>
              <a:gd name="connsiteY9" fmla="*/ 66161 h 2024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798108" h="202474">
                <a:moveTo>
                  <a:pt x="1696890" y="0"/>
                </a:moveTo>
                <a:lnTo>
                  <a:pt x="1798108" y="101256"/>
                </a:lnTo>
                <a:lnTo>
                  <a:pt x="1759558" y="139806"/>
                </a:lnTo>
                <a:lnTo>
                  <a:pt x="1759558" y="142464"/>
                </a:lnTo>
                <a:lnTo>
                  <a:pt x="1756900" y="142464"/>
                </a:lnTo>
                <a:lnTo>
                  <a:pt x="1696890" y="202474"/>
                </a:lnTo>
                <a:lnTo>
                  <a:pt x="1696890" y="142464"/>
                </a:lnTo>
                <a:lnTo>
                  <a:pt x="0" y="142464"/>
                </a:lnTo>
                <a:lnTo>
                  <a:pt x="0" y="66161"/>
                </a:lnTo>
                <a:lnTo>
                  <a:pt x="1696890" y="66161"/>
                </a:lnTo>
                <a:close/>
              </a:path>
            </a:pathLst>
          </a:custGeom>
          <a:solidFill>
            <a:srgbClr val="00A900"/>
          </a:solidFill>
          <a:ln w="37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FD803DEF-E322-3A5B-5F6D-2E9DEAD1A3F0}"/>
              </a:ext>
            </a:extLst>
          </p:cNvPr>
          <p:cNvSpPr txBox="1"/>
          <p:nvPr/>
        </p:nvSpPr>
        <p:spPr>
          <a:xfrm>
            <a:off x="3896494" y="1031223"/>
            <a:ext cx="11689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aseline="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Atmospheric</a:t>
            </a:r>
          </a:p>
          <a:p>
            <a:pPr algn="ctr"/>
            <a:r>
              <a:rPr lang="en-US" sz="120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carbon</a:t>
            </a:r>
            <a:endParaRPr lang="en-US" sz="1200" baseline="0">
              <a:ln/>
              <a:solidFill>
                <a:srgbClr val="FFFFFF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  <a:rtl val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9E7EA5B-660E-CADF-F2FB-E49B048717C6}"/>
              </a:ext>
            </a:extLst>
          </p:cNvPr>
          <p:cNvSpPr txBox="1"/>
          <p:nvPr/>
        </p:nvSpPr>
        <p:spPr>
          <a:xfrm>
            <a:off x="5718051" y="5351240"/>
            <a:ext cx="7617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1200" baseline="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Carbon</a:t>
            </a:r>
          </a:p>
          <a:p>
            <a:pPr algn="ctr"/>
            <a:r>
              <a:rPr lang="en-US" sz="120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Sinks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B9E1925D-99B1-8FDB-7E15-765ECF5BAE4E}"/>
              </a:ext>
            </a:extLst>
          </p:cNvPr>
          <p:cNvSpPr txBox="1"/>
          <p:nvPr/>
        </p:nvSpPr>
        <p:spPr>
          <a:xfrm>
            <a:off x="2698815" y="5341540"/>
            <a:ext cx="7360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Fossil</a:t>
            </a:r>
          </a:p>
          <a:p>
            <a:pPr algn="l"/>
            <a:r>
              <a:rPr lang="en-US" sz="1200" baseline="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carbon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0CE0CC3-3E51-A555-2DD3-9F9145E91439}"/>
              </a:ext>
            </a:extLst>
          </p:cNvPr>
          <p:cNvSpPr txBox="1"/>
          <p:nvPr/>
        </p:nvSpPr>
        <p:spPr>
          <a:xfrm>
            <a:off x="4037284" y="2950117"/>
            <a:ext cx="861133" cy="73866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aseline="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Carbon</a:t>
            </a:r>
          </a:p>
          <a:p>
            <a:pPr algn="ctr"/>
            <a:r>
              <a:rPr lang="en-US" sz="120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Products</a:t>
            </a:r>
          </a:p>
          <a:p>
            <a:pPr algn="ctr"/>
            <a:r>
              <a:rPr lang="en-US" sz="900" baseline="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(including </a:t>
            </a:r>
          </a:p>
          <a:p>
            <a:pPr algn="ctr"/>
            <a:r>
              <a:rPr lang="en-US" sz="900" baseline="0">
                <a:ln/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fuels)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A7962B0-9984-3D40-23A8-9634863EBC48}"/>
              </a:ext>
            </a:extLst>
          </p:cNvPr>
          <p:cNvSpPr txBox="1"/>
          <p:nvPr/>
        </p:nvSpPr>
        <p:spPr>
          <a:xfrm>
            <a:off x="4862818" y="4053765"/>
            <a:ext cx="10038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r>
              <a:rPr lang="en-US" sz="1200" baseline="0">
                <a:ln/>
                <a:solidFill>
                  <a:srgbClr val="008AF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Long-term</a:t>
            </a:r>
          </a:p>
          <a:p>
            <a:pPr algn="r"/>
            <a:r>
              <a:rPr lang="en-US" sz="1200">
                <a:ln/>
                <a:solidFill>
                  <a:srgbClr val="008AF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storage</a:t>
            </a:r>
            <a:endParaRPr lang="en-US" sz="1200" baseline="0">
              <a:ln/>
              <a:solidFill>
                <a:srgbClr val="008AF1"/>
              </a:solidFill>
              <a:latin typeface="Poppins" panose="00000500000000000000" pitchFamily="2" charset="0"/>
              <a:cs typeface="Poppins" panose="00000500000000000000" pitchFamily="2" charset="0"/>
              <a:sym typeface="Arial"/>
              <a:rtl val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F621733-B142-9A4C-7F3A-F0BBC92DAC6C}"/>
              </a:ext>
            </a:extLst>
          </p:cNvPr>
          <p:cNvSpPr txBox="1"/>
          <p:nvPr/>
        </p:nvSpPr>
        <p:spPr>
          <a:xfrm>
            <a:off x="3761996" y="5613217"/>
            <a:ext cx="16417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1200" baseline="0">
                <a:ln/>
                <a:solidFill>
                  <a:srgbClr val="595959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Long-term storage</a:t>
            </a:r>
          </a:p>
        </p:txBody>
      </p:sp>
      <p:grpSp>
        <p:nvGrpSpPr>
          <p:cNvPr id="37" name="Group 36">
            <a:extLst>
              <a:ext uri="{FF2B5EF4-FFF2-40B4-BE49-F238E27FC236}">
                <a16:creationId xmlns:a16="http://schemas.microsoft.com/office/drawing/2014/main" id="{2BD4DB77-62FB-6478-417B-00761AC2C20B}"/>
              </a:ext>
            </a:extLst>
          </p:cNvPr>
          <p:cNvGrpSpPr/>
          <p:nvPr/>
        </p:nvGrpSpPr>
        <p:grpSpPr>
          <a:xfrm>
            <a:off x="3077590" y="4049354"/>
            <a:ext cx="957826" cy="475990"/>
            <a:chOff x="8011189" y="4342810"/>
            <a:chExt cx="957826" cy="475990"/>
          </a:xfrm>
        </p:grpSpPr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64448FB1-8320-6DD5-D459-9538B9479AED}"/>
                </a:ext>
              </a:extLst>
            </p:cNvPr>
            <p:cNvGrpSpPr/>
            <p:nvPr/>
          </p:nvGrpSpPr>
          <p:grpSpPr>
            <a:xfrm>
              <a:off x="8011189" y="4342810"/>
              <a:ext cx="471550" cy="310614"/>
              <a:chOff x="8251698" y="4342810"/>
              <a:chExt cx="471550" cy="310614"/>
            </a:xfrm>
          </p:grpSpPr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1AAB6EF0-4FE4-8851-DDB6-670579BB6D89}"/>
                  </a:ext>
                </a:extLst>
              </p:cNvPr>
              <p:cNvSpPr txBox="1"/>
              <p:nvPr/>
            </p:nvSpPr>
            <p:spPr>
              <a:xfrm>
                <a:off x="8251698" y="4342810"/>
                <a:ext cx="44112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l"/>
                <a:r>
                  <a:rPr lang="en-US" sz="1200" baseline="0">
                    <a:ln/>
                    <a:solidFill>
                      <a:srgbClr val="4B4B51"/>
                    </a:solidFill>
                    <a:latin typeface="Poppins" panose="00000500000000000000" pitchFamily="2" charset="0"/>
                    <a:cs typeface="Poppins" panose="00000500000000000000" pitchFamily="2" charset="0"/>
                    <a:sym typeface="Arial"/>
                    <a:rtl val="0"/>
                  </a:rPr>
                  <a:t>CO</a:t>
                </a:r>
              </a:p>
            </p:txBody>
          </p:sp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3C88BCB7-38F9-E14E-DD10-0058FACFE311}"/>
                  </a:ext>
                </a:extLst>
              </p:cNvPr>
              <p:cNvSpPr txBox="1"/>
              <p:nvPr/>
            </p:nvSpPr>
            <p:spPr>
              <a:xfrm>
                <a:off x="8479270" y="4437980"/>
                <a:ext cx="243978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l"/>
                <a:r>
                  <a:rPr lang="en-US" sz="800" baseline="0">
                    <a:ln/>
                    <a:solidFill>
                      <a:srgbClr val="4B4B51"/>
                    </a:solidFill>
                    <a:latin typeface="Poppins" panose="00000500000000000000" pitchFamily="2" charset="0"/>
                    <a:cs typeface="Poppins" panose="00000500000000000000" pitchFamily="2" charset="0"/>
                    <a:sym typeface="Arial"/>
                    <a:rtl val="0"/>
                  </a:rPr>
                  <a:t>2</a:t>
                </a:r>
              </a:p>
            </p:txBody>
          </p:sp>
        </p:grp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4613E54-EF9E-F810-DF53-0CCAF847091D}"/>
                </a:ext>
              </a:extLst>
            </p:cNvPr>
            <p:cNvSpPr txBox="1"/>
            <p:nvPr/>
          </p:nvSpPr>
          <p:spPr>
            <a:xfrm>
              <a:off x="8016510" y="4541801"/>
              <a:ext cx="95250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200" baseline="0">
                  <a:ln/>
                  <a:solidFill>
                    <a:srgbClr val="4B4B51"/>
                  </a:solidFill>
                  <a:latin typeface="Poppins" panose="00000500000000000000" pitchFamily="2" charset="0"/>
                  <a:cs typeface="Poppins" panose="00000500000000000000" pitchFamily="2" charset="0"/>
                  <a:sym typeface="Arial"/>
                  <a:rtl val="0"/>
                </a:rPr>
                <a:t>emissions</a:t>
              </a:r>
            </a:p>
          </p:txBody>
        </p:sp>
      </p:grpSp>
      <p:sp>
        <p:nvSpPr>
          <p:cNvPr id="42" name="TextBox 41">
            <a:extLst>
              <a:ext uri="{FF2B5EF4-FFF2-40B4-BE49-F238E27FC236}">
                <a16:creationId xmlns:a16="http://schemas.microsoft.com/office/drawing/2014/main" id="{4D6E0C01-A308-EB1F-BA6C-C2DFAB8EF0C8}"/>
              </a:ext>
            </a:extLst>
          </p:cNvPr>
          <p:cNvSpPr txBox="1"/>
          <p:nvPr/>
        </p:nvSpPr>
        <p:spPr>
          <a:xfrm>
            <a:off x="4637650" y="5167360"/>
            <a:ext cx="734496" cy="4007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4" b="1">
                <a:ln/>
                <a:solidFill>
                  <a:srgbClr val="00A900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CC</a:t>
            </a:r>
            <a:r>
              <a:rPr lang="en-US" sz="2004" b="1" baseline="0">
                <a:ln/>
                <a:solidFill>
                  <a:srgbClr val="00A900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37B52FF-7751-746A-6B81-9ABD7ECE6275}"/>
              </a:ext>
            </a:extLst>
          </p:cNvPr>
          <p:cNvSpPr txBox="1"/>
          <p:nvPr/>
        </p:nvSpPr>
        <p:spPr>
          <a:xfrm>
            <a:off x="5315601" y="3144015"/>
            <a:ext cx="752129" cy="4007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/>
            <a:r>
              <a:rPr lang="en-US" sz="2004" b="1" baseline="0">
                <a:ln/>
                <a:solidFill>
                  <a:srgbClr val="008AF1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  <a:rtl val="0"/>
              </a:rPr>
              <a:t>CDR</a:t>
            </a:r>
          </a:p>
        </p:txBody>
      </p:sp>
    </p:spTree>
    <p:extLst>
      <p:ext uri="{BB962C8B-B14F-4D97-AF65-F5344CB8AC3E}">
        <p14:creationId xmlns:p14="http://schemas.microsoft.com/office/powerpoint/2010/main" val="33534055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0056B04-3E66-3C4F-D271-911F9975D0C9}"/>
              </a:ext>
            </a:extLst>
          </p:cNvPr>
          <p:cNvSpPr txBox="1">
            <a:spLocks/>
          </p:cNvSpPr>
          <p:nvPr/>
        </p:nvSpPr>
        <p:spPr>
          <a:xfrm>
            <a:off x="720188" y="-227021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4000" b="1">
                <a:solidFill>
                  <a:srgbClr val="006DBE"/>
                </a:solidFill>
                <a:latin typeface="TT Hoves"/>
                <a:ea typeface="+mn-ea"/>
                <a:cs typeface="+mn-cs"/>
              </a:rPr>
              <a:t>Modularity of CDR methods</a:t>
            </a:r>
          </a:p>
        </p:txBody>
      </p:sp>
      <p:pic>
        <p:nvPicPr>
          <p:cNvPr id="2" name="Picture 2" descr="A picture containing company name&#10;&#10;Description automatically generated">
            <a:extLst>
              <a:ext uri="{FF2B5EF4-FFF2-40B4-BE49-F238E27FC236}">
                <a16:creationId xmlns:a16="http://schemas.microsoft.com/office/drawing/2014/main" id="{55A6EB59-2C50-6A58-5811-AB9EC466084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268" r="271" b="29761"/>
          <a:stretch/>
        </p:blipFill>
        <p:spPr>
          <a:xfrm>
            <a:off x="966188" y="830757"/>
            <a:ext cx="7862643" cy="6027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36459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>
            <a:extLst>
              <a:ext uri="{FF2B5EF4-FFF2-40B4-BE49-F238E27FC236}">
                <a16:creationId xmlns:a16="http://schemas.microsoft.com/office/drawing/2014/main" id="{D0056B04-3E66-3C4F-D271-911F9975D0C9}"/>
              </a:ext>
            </a:extLst>
          </p:cNvPr>
          <p:cNvSpPr txBox="1">
            <a:spLocks/>
          </p:cNvSpPr>
          <p:nvPr/>
        </p:nvSpPr>
        <p:spPr>
          <a:xfrm>
            <a:off x="379119" y="-2234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IE" sz="4000" b="1">
              <a:solidFill>
                <a:srgbClr val="006DBE"/>
              </a:solidFill>
              <a:latin typeface="TT Hoves"/>
              <a:ea typeface="+mn-ea"/>
              <a:cs typeface="+mn-cs"/>
            </a:endParaRPr>
          </a:p>
        </p:txBody>
      </p:sp>
      <p:pic>
        <p:nvPicPr>
          <p:cNvPr id="4" name="Picture 4" descr="Diagram&#10;&#10;Description automatically generated">
            <a:extLst>
              <a:ext uri="{FF2B5EF4-FFF2-40B4-BE49-F238E27FC236}">
                <a16:creationId xmlns:a16="http://schemas.microsoft.com/office/drawing/2014/main" id="{1DA4DA94-C67A-7D5F-43D7-B588908466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8657" y="49101"/>
            <a:ext cx="9425353" cy="6642567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2638E05-0A67-2998-AEBB-1E0489E53EB1}"/>
              </a:ext>
            </a:extLst>
          </p:cNvPr>
          <p:cNvSpPr txBox="1"/>
          <p:nvPr/>
        </p:nvSpPr>
        <p:spPr>
          <a:xfrm>
            <a:off x="8635999" y="6499795"/>
            <a:ext cx="3549486" cy="27699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Avenir"/>
              </a:rPr>
              <a:t>Illustration by Walker Cahall - </a:t>
            </a: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Avenir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waltronic.net</a:t>
            </a:r>
            <a:r>
              <a:rPr lang="en-US" sz="1200">
                <a:solidFill>
                  <a:schemeClr val="tx1">
                    <a:lumMod val="50000"/>
                    <a:lumOff val="50000"/>
                  </a:schemeClr>
                </a:solidFill>
                <a:latin typeface="Avenir"/>
              </a:rPr>
              <a:t> </a:t>
            </a:r>
            <a:endParaRPr lang="en-US" sz="3200">
              <a:solidFill>
                <a:schemeClr val="tx1">
                  <a:lumMod val="50000"/>
                  <a:lumOff val="50000"/>
                </a:schemeClr>
              </a:solidFill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643976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Chart&#10;&#10;Description automatically generated">
            <a:extLst>
              <a:ext uri="{FF2B5EF4-FFF2-40B4-BE49-F238E27FC236}">
                <a16:creationId xmlns:a16="http://schemas.microsoft.com/office/drawing/2014/main" id="{12F5C117-0B6B-E566-4A8D-CBFFDD1F127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r="2774" b="599"/>
          <a:stretch/>
        </p:blipFill>
        <p:spPr>
          <a:xfrm>
            <a:off x="4528662" y="1053318"/>
            <a:ext cx="7052195" cy="5804767"/>
          </a:xfr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432E576-4FFC-5B67-4B76-577E429972B3}"/>
              </a:ext>
            </a:extLst>
          </p:cNvPr>
          <p:cNvSpPr txBox="1">
            <a:spLocks/>
          </p:cNvSpPr>
          <p:nvPr/>
        </p:nvSpPr>
        <p:spPr>
          <a:xfrm>
            <a:off x="707162" y="9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4000" b="1">
                <a:solidFill>
                  <a:srgbClr val="006DBE"/>
                </a:solidFill>
                <a:latin typeface="TT Hoves"/>
                <a:ea typeface="+mn-ea"/>
                <a:cs typeface="+mn-cs"/>
              </a:rPr>
              <a:t>Are permanence and durability the same?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12" name="Google Shape;295;p50">
            <a:extLst>
              <a:ext uri="{FF2B5EF4-FFF2-40B4-BE49-F238E27FC236}">
                <a16:creationId xmlns:a16="http://schemas.microsoft.com/office/drawing/2014/main" id="{7D8C2674-BA39-70CF-03AC-A27BDA0C5CF0}"/>
              </a:ext>
            </a:extLst>
          </p:cNvPr>
          <p:cNvSpPr txBox="1">
            <a:spLocks/>
          </p:cNvSpPr>
          <p:nvPr/>
        </p:nvSpPr>
        <p:spPr>
          <a:xfrm>
            <a:off x="91180" y="1462404"/>
            <a:ext cx="4903887" cy="460052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sz="2400" b="1">
                <a:cs typeface="Calibri"/>
              </a:rPr>
              <a:t>Permanence</a:t>
            </a:r>
            <a:r>
              <a:rPr lang="en-GB" sz="2400">
                <a:cs typeface="Calibri"/>
              </a:rPr>
              <a:t> </a:t>
            </a:r>
            <a:r>
              <a:rPr lang="en-GB" sz="2400">
                <a:ea typeface="+mn-lt"/>
                <a:cs typeface="+mn-lt"/>
              </a:rPr>
              <a:t>is an ideal reference case in which stored carbon remains stored in perpetuity</a:t>
            </a: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sz="2400" b="1">
                <a:cs typeface="Calibri"/>
              </a:rPr>
              <a:t>Durability</a:t>
            </a:r>
            <a:r>
              <a:rPr lang="en-GB" sz="2400">
                <a:cs typeface="Calibri"/>
              </a:rPr>
              <a:t> is </a:t>
            </a:r>
            <a:r>
              <a:rPr lang="en-GB" sz="2400">
                <a:ea typeface="+mn-lt"/>
                <a:cs typeface="+mn-lt"/>
              </a:rPr>
              <a:t>a physical characteristic of stored carbon, indicating risk of physical reversal</a:t>
            </a: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sz="2400" b="1">
                <a:cs typeface="Calibri" panose="020F0502020204030204"/>
              </a:rPr>
              <a:t>Expected residence time </a:t>
            </a:r>
            <a:r>
              <a:rPr lang="en-GB" sz="2400">
                <a:cs typeface="Calibri" panose="020F0502020204030204"/>
              </a:rPr>
              <a:t>is how long we expect carbon to remain stored, on average</a:t>
            </a:r>
            <a:endParaRPr lang="en-GB" sz="2400">
              <a:ea typeface="Calibri"/>
              <a:cs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62817662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Chart&#10;&#10;Description automatically generated">
            <a:extLst>
              <a:ext uri="{FF2B5EF4-FFF2-40B4-BE49-F238E27FC236}">
                <a16:creationId xmlns:a16="http://schemas.microsoft.com/office/drawing/2014/main" id="{A85B72A4-597F-F5FA-F187-BF96D9BAA0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29204" y="1249062"/>
            <a:ext cx="7972994" cy="4070149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7432E576-4FFC-5B67-4B76-577E429972B3}"/>
              </a:ext>
            </a:extLst>
          </p:cNvPr>
          <p:cNvSpPr txBox="1">
            <a:spLocks/>
          </p:cNvSpPr>
          <p:nvPr/>
        </p:nvSpPr>
        <p:spPr>
          <a:xfrm>
            <a:off x="707162" y="9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4000" b="1">
                <a:solidFill>
                  <a:srgbClr val="006DBE"/>
                </a:solidFill>
                <a:latin typeface="TT Hoves"/>
                <a:ea typeface="+mn-ea"/>
                <a:cs typeface="+mn-cs"/>
              </a:rPr>
              <a:t>Are permanence and durability the same?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12" name="Google Shape;295;p50">
            <a:extLst>
              <a:ext uri="{FF2B5EF4-FFF2-40B4-BE49-F238E27FC236}">
                <a16:creationId xmlns:a16="http://schemas.microsoft.com/office/drawing/2014/main" id="{7D8C2674-BA39-70CF-03AC-A27BDA0C5CF0}"/>
              </a:ext>
            </a:extLst>
          </p:cNvPr>
          <p:cNvSpPr txBox="1">
            <a:spLocks/>
          </p:cNvSpPr>
          <p:nvPr/>
        </p:nvSpPr>
        <p:spPr>
          <a:xfrm>
            <a:off x="91180" y="1462404"/>
            <a:ext cx="4903887" cy="4600523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82600" indent="-3429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sz="2400" b="1">
                <a:cs typeface="Calibri"/>
              </a:rPr>
              <a:t>Permanence</a:t>
            </a:r>
            <a:r>
              <a:rPr lang="en-GB" sz="2400">
                <a:cs typeface="Calibri"/>
              </a:rPr>
              <a:t> </a:t>
            </a:r>
            <a:r>
              <a:rPr lang="en-GB" sz="2400">
                <a:ea typeface="+mn-lt"/>
                <a:cs typeface="+mn-lt"/>
              </a:rPr>
              <a:t>is an ideal reference case in which stored carbon remains stored in perpetuity</a:t>
            </a: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sz="2400" b="1">
                <a:cs typeface="Calibri"/>
              </a:rPr>
              <a:t>Durability</a:t>
            </a:r>
            <a:r>
              <a:rPr lang="en-GB" sz="2400">
                <a:cs typeface="Calibri"/>
              </a:rPr>
              <a:t> is </a:t>
            </a:r>
            <a:r>
              <a:rPr lang="en-GB" sz="2400">
                <a:ea typeface="+mn-lt"/>
                <a:cs typeface="+mn-lt"/>
              </a:rPr>
              <a:t>a physical characteristic of stored carbon, indicating risk of physical reversal</a:t>
            </a: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endParaRPr lang="en-GB" sz="2400">
              <a:cs typeface="Calibri"/>
            </a:endParaRPr>
          </a:p>
          <a:p>
            <a:pPr marL="482600" indent="-3429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sz="2400" b="1">
                <a:cs typeface="Calibri" panose="020F0502020204030204"/>
              </a:rPr>
              <a:t>Expected residence time </a:t>
            </a:r>
            <a:r>
              <a:rPr lang="en-GB" sz="2400">
                <a:cs typeface="Calibri" panose="020F0502020204030204"/>
              </a:rPr>
              <a:t>is how long we expect carbon to remain stored, on average</a:t>
            </a:r>
            <a:endParaRPr lang="en-GB" sz="2400">
              <a:ea typeface="Calibri"/>
              <a:cs typeface="Calibri" panose="020F0502020204030204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598C1BD-4024-8FFB-4C0A-890205317068}"/>
              </a:ext>
            </a:extLst>
          </p:cNvPr>
          <p:cNvSpPr txBox="1"/>
          <p:nvPr/>
        </p:nvSpPr>
        <p:spPr>
          <a:xfrm>
            <a:off x="9638974" y="6499794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cs typeface="Calibri"/>
              </a:rPr>
              <a:t>State of CDR report, IPCC</a:t>
            </a:r>
          </a:p>
        </p:txBody>
      </p:sp>
    </p:spTree>
    <p:extLst>
      <p:ext uri="{BB962C8B-B14F-4D97-AF65-F5344CB8AC3E}">
        <p14:creationId xmlns:p14="http://schemas.microsoft.com/office/powerpoint/2010/main" val="299468329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90BAFF9-C14D-4E16-AD1F-2E968EAC43B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86" b="24186"/>
          <a:stretch>
            <a:fillRect/>
          </a:stretch>
        </p:blipFill>
        <p:spPr/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D856E102-5BD6-4CBA-B116-2A3FC5A82171}"/>
              </a:ext>
            </a:extLst>
          </p:cNvPr>
          <p:cNvSpPr/>
          <p:nvPr/>
        </p:nvSpPr>
        <p:spPr>
          <a:xfrm>
            <a:off x="0" y="-39471"/>
            <a:ext cx="12192000" cy="6858000"/>
          </a:xfrm>
          <a:prstGeom prst="rect">
            <a:avLst/>
          </a:prstGeom>
          <a:solidFill>
            <a:srgbClr val="5CC3B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AA66A7-E8D4-4D19-A21F-FE44C8C8ADFC}"/>
              </a:ext>
            </a:extLst>
          </p:cNvPr>
          <p:cNvSpPr txBox="1"/>
          <p:nvPr/>
        </p:nvSpPr>
        <p:spPr>
          <a:xfrm>
            <a:off x="132217" y="965884"/>
            <a:ext cx="11812296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TT Hoves"/>
                <a:ea typeface="Open Sans"/>
                <a:cs typeface="Open Sans"/>
              </a:rPr>
              <a:t>Carbon Dioxide Removal: </a:t>
            </a:r>
            <a:endParaRPr lang="en-US" sz="7200" b="1">
              <a:solidFill>
                <a:schemeClr val="bg1"/>
              </a:solidFill>
              <a:latin typeface="TT Hoves" panose="02000803040000020004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7200" b="1">
                <a:solidFill>
                  <a:schemeClr val="bg1">
                    <a:lumMod val="75000"/>
                  </a:schemeClr>
                </a:solidFill>
                <a:latin typeface="TT Hoves"/>
                <a:ea typeface="Open Sans"/>
                <a:cs typeface="Open Sans"/>
              </a:rPr>
              <a:t>What</a:t>
            </a:r>
          </a:p>
          <a:p>
            <a:pPr algn="ctr"/>
            <a:r>
              <a:rPr lang="en-US" sz="7200" b="1">
                <a:solidFill>
                  <a:srgbClr val="006DBE"/>
                </a:solidFill>
                <a:latin typeface="TT Hoves"/>
                <a:ea typeface="Open Sans"/>
                <a:cs typeface="Calibri"/>
              </a:rPr>
              <a:t> Why </a:t>
            </a:r>
            <a:endParaRPr lang="en-US" sz="7200" b="1">
              <a:solidFill>
                <a:srgbClr val="002D44"/>
              </a:solidFill>
              <a:latin typeface="TT Hoves"/>
              <a:ea typeface="Open Sans"/>
              <a:cs typeface="Calibri"/>
            </a:endParaRPr>
          </a:p>
          <a:p>
            <a:pPr algn="ctr"/>
            <a:r>
              <a:rPr lang="en-US" sz="7200" b="1">
                <a:solidFill>
                  <a:schemeClr val="bg1">
                    <a:lumMod val="75000"/>
                  </a:schemeClr>
                </a:solidFill>
                <a:latin typeface="TT Hoves"/>
                <a:ea typeface="Open Sans"/>
                <a:cs typeface="Calibri"/>
              </a:rPr>
              <a:t>How</a:t>
            </a:r>
            <a:endParaRPr lang="en-US" sz="7200" b="1">
              <a:solidFill>
                <a:schemeClr val="bg1">
                  <a:lumMod val="75000"/>
                </a:schemeClr>
              </a:solidFill>
              <a:latin typeface="TT Hoves"/>
              <a:ea typeface="Open Sans" panose="020B0606030504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2389912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AC4E3C1-CCC1-4CA7-875C-C49F6B3B2A00}"/>
              </a:ext>
            </a:extLst>
          </p:cNvPr>
          <p:cNvSpPr/>
          <p:nvPr/>
        </p:nvSpPr>
        <p:spPr>
          <a:xfrm>
            <a:off x="5299788" y="1548882"/>
            <a:ext cx="6892212" cy="3760236"/>
          </a:xfrm>
          <a:prstGeom prst="rect">
            <a:avLst/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39AB2-1BE1-4D3E-BFC5-CBA5161A4F8A}"/>
              </a:ext>
            </a:extLst>
          </p:cNvPr>
          <p:cNvSpPr txBox="1"/>
          <p:nvPr/>
        </p:nvSpPr>
        <p:spPr>
          <a:xfrm>
            <a:off x="6892211" y="2026223"/>
            <a:ext cx="4471477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 dirty="0">
                <a:solidFill>
                  <a:srgbClr val="006DBE"/>
                </a:solidFill>
                <a:latin typeface="TT Hoves" panose="02000803040000020004" pitchFamily="2" charset="0"/>
              </a:rPr>
              <a:t>Emission reductions are falling shor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E47D4-9C26-43C4-9AF0-97E9AB161BFA}"/>
              </a:ext>
            </a:extLst>
          </p:cNvPr>
          <p:cNvSpPr txBox="1"/>
          <p:nvPr/>
        </p:nvSpPr>
        <p:spPr>
          <a:xfrm>
            <a:off x="6892212" y="3013822"/>
            <a:ext cx="4276032" cy="1893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US" sz="1600" dirty="0">
              <a:solidFill>
                <a:schemeClr val="bg1"/>
              </a:solidFill>
              <a:latin typeface="Helvetica" pitchFamily="2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Helvetica" pitchFamily="2" charset="0"/>
              </a:rPr>
              <a:t>Action to cut emissions has been slo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Helvetica" pitchFamily="2" charset="0"/>
              </a:rPr>
              <a:t>The slower we cut emissions, the more our dependence of removals increases</a:t>
            </a:r>
          </a:p>
          <a:p>
            <a:pPr>
              <a:lnSpc>
                <a:spcPct val="150000"/>
              </a:lnSpc>
            </a:pPr>
            <a:endParaRPr lang="en-US" sz="1600" dirty="0">
              <a:solidFill>
                <a:schemeClr val="bg1"/>
              </a:solidFill>
              <a:latin typeface="Helvetica" pitchFamily="2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5405021" y="3506540"/>
            <a:ext cx="1401072" cy="1401070"/>
          </a:xfrm>
          <a:prstGeom prst="ellipse">
            <a:avLst/>
          </a:prstGeom>
          <a:solidFill>
            <a:srgbClr val="5CC3B3"/>
          </a:solidFill>
          <a:ln>
            <a:solidFill>
              <a:srgbClr val="5CC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pic>
        <p:nvPicPr>
          <p:cNvPr id="7" name="Picture 6" descr="A picture containing text, screenshot, diagram, line&#10;&#10;Description automatically generated">
            <a:extLst>
              <a:ext uri="{FF2B5EF4-FFF2-40B4-BE49-F238E27FC236}">
                <a16:creationId xmlns:a16="http://schemas.microsoft.com/office/drawing/2014/main" id="{749BA4CF-9628-67E2-DC56-B707196A96C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3517" y="1291181"/>
            <a:ext cx="6650966" cy="44307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33138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AC4E3C1-CCC1-4CA7-875C-C49F6B3B2A00}"/>
              </a:ext>
            </a:extLst>
          </p:cNvPr>
          <p:cNvSpPr/>
          <p:nvPr/>
        </p:nvSpPr>
        <p:spPr>
          <a:xfrm>
            <a:off x="5299788" y="1548882"/>
            <a:ext cx="6892212" cy="3760236"/>
          </a:xfrm>
          <a:prstGeom prst="rect">
            <a:avLst/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39AB2-1BE1-4D3E-BFC5-CBA5161A4F8A}"/>
              </a:ext>
            </a:extLst>
          </p:cNvPr>
          <p:cNvSpPr txBox="1"/>
          <p:nvPr/>
        </p:nvSpPr>
        <p:spPr>
          <a:xfrm>
            <a:off x="6892211" y="2026223"/>
            <a:ext cx="4471477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rgbClr val="006DBE"/>
                </a:solidFill>
                <a:latin typeface="TT Hoves" panose="02000803040000020004" pitchFamily="2" charset="0"/>
              </a:rPr>
              <a:t>Carbon Dioxide Removal is unavoidab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E47D4-9C26-43C4-9AF0-97E9AB161BFA}"/>
              </a:ext>
            </a:extLst>
          </p:cNvPr>
          <p:cNvSpPr txBox="1"/>
          <p:nvPr/>
        </p:nvSpPr>
        <p:spPr>
          <a:xfrm>
            <a:off x="6892212" y="3013822"/>
            <a:ext cx="4276032" cy="226267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endParaRPr lang="en-US" sz="1600">
              <a:solidFill>
                <a:schemeClr val="bg1"/>
              </a:solidFill>
              <a:latin typeface="Helvetica" pitchFamily="2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Helvetica"/>
                <a:cs typeface="Helvetica"/>
              </a:rPr>
              <a:t>To accelerate climate ac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Helvetica"/>
                <a:cs typeface="Helvetica"/>
              </a:rPr>
              <a:t>To balance out residual GHG emiss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To reduce global CO2 concentrations</a:t>
            </a:r>
          </a:p>
          <a:p>
            <a:pPr>
              <a:lnSpc>
                <a:spcPct val="150000"/>
              </a:lnSpc>
            </a:pPr>
            <a:endParaRPr lang="en-US" sz="1600">
              <a:solidFill>
                <a:schemeClr val="bg1"/>
              </a:solidFill>
              <a:latin typeface="Helvetica" pitchFamily="2" charset="0"/>
            </a:endParaRPr>
          </a:p>
          <a:p>
            <a:pPr>
              <a:lnSpc>
                <a:spcPct val="150000"/>
              </a:lnSpc>
            </a:pPr>
            <a:r>
              <a:rPr lang="en-US" sz="1600">
                <a:solidFill>
                  <a:srgbClr val="006DBE"/>
                </a:solidFill>
                <a:latin typeface="Helvetica" pitchFamily="2" charset="0"/>
              </a:rPr>
              <a:t>NB: Carbon neutrality =/= Climate neutrality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2419D0D-4A1A-4000-947F-D8013685812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44" b="17444"/>
          <a:stretch>
            <a:fillRect/>
          </a:stretch>
        </p:blipFill>
        <p:spPr/>
      </p:pic>
      <p:sp>
        <p:nvSpPr>
          <p:cNvPr id="6" name="Oval 5"/>
          <p:cNvSpPr/>
          <p:nvPr/>
        </p:nvSpPr>
        <p:spPr>
          <a:xfrm>
            <a:off x="5405021" y="3506540"/>
            <a:ext cx="1401072" cy="1401070"/>
          </a:xfrm>
          <a:prstGeom prst="ellipse">
            <a:avLst/>
          </a:prstGeom>
          <a:solidFill>
            <a:srgbClr val="5CC3B3"/>
          </a:solidFill>
          <a:ln>
            <a:solidFill>
              <a:srgbClr val="5CC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E41C9B-39DE-6015-FCE0-E969CAF00C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4903"/>
            <a:ext cx="5969307" cy="415311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F5212BA-DC53-3461-0536-0EB80FA8FFBD}"/>
              </a:ext>
            </a:extLst>
          </p:cNvPr>
          <p:cNvSpPr txBox="1"/>
          <p:nvPr/>
        </p:nvSpPr>
        <p:spPr>
          <a:xfrm>
            <a:off x="2097128" y="5796409"/>
            <a:ext cx="7651376" cy="40011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>
                <a:solidFill>
                  <a:srgbClr val="000000"/>
                </a:solidFill>
                <a:latin typeface="Helvetica"/>
                <a:ea typeface="+mn-lt"/>
                <a:cs typeface="+mn-lt"/>
              </a:rPr>
              <a:t>Climate neutrality by 2050 means </a:t>
            </a:r>
            <a:r>
              <a:rPr lang="en-US" sz="2000" b="1" i="1">
                <a:solidFill>
                  <a:srgbClr val="000000"/>
                </a:solidFill>
                <a:latin typeface="Helvetica"/>
                <a:ea typeface="+mn-lt"/>
                <a:cs typeface="+mn-lt"/>
              </a:rPr>
              <a:t>carbon neutral </a:t>
            </a:r>
            <a:r>
              <a:rPr lang="en-US" sz="2000">
                <a:solidFill>
                  <a:srgbClr val="000000"/>
                </a:solidFill>
                <a:latin typeface="Helvetica"/>
                <a:ea typeface="+mn-lt"/>
                <a:cs typeface="+mn-lt"/>
              </a:rPr>
              <a:t>before 2050</a:t>
            </a:r>
            <a:endParaRPr lang="en-US" sz="3200">
              <a:latin typeface="Helvetica"/>
              <a:ea typeface="Calibri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0901003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AC4E3C1-CCC1-4CA7-875C-C49F6B3B2A00}"/>
              </a:ext>
            </a:extLst>
          </p:cNvPr>
          <p:cNvSpPr/>
          <p:nvPr/>
        </p:nvSpPr>
        <p:spPr>
          <a:xfrm>
            <a:off x="5299788" y="1548882"/>
            <a:ext cx="6892212" cy="3760236"/>
          </a:xfrm>
          <a:prstGeom prst="rect">
            <a:avLst/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39AB2-1BE1-4D3E-BFC5-CBA5161A4F8A}"/>
              </a:ext>
            </a:extLst>
          </p:cNvPr>
          <p:cNvSpPr txBox="1"/>
          <p:nvPr/>
        </p:nvSpPr>
        <p:spPr>
          <a:xfrm>
            <a:off x="6892211" y="2026223"/>
            <a:ext cx="4471477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 dirty="0">
                <a:solidFill>
                  <a:srgbClr val="006DBE"/>
                </a:solidFill>
                <a:latin typeface="TT Hoves" panose="02000803040000020004" pitchFamily="2" charset="0"/>
              </a:rPr>
              <a:t>IPCC scenarios gravitate towards CDR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E47D4-9C26-43C4-9AF0-97E9AB161BFA}"/>
              </a:ext>
            </a:extLst>
          </p:cNvPr>
          <p:cNvSpPr txBox="1"/>
          <p:nvPr/>
        </p:nvSpPr>
        <p:spPr>
          <a:xfrm>
            <a:off x="6892211" y="3013822"/>
            <a:ext cx="5405022" cy="30017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50000"/>
              </a:lnSpc>
            </a:pPr>
            <a:endParaRPr lang="en-US" sz="1600" dirty="0">
              <a:solidFill>
                <a:schemeClr val="bg1"/>
              </a:solidFill>
              <a:latin typeface="Helvetica" pitchFamily="2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Helvetica"/>
                <a:cs typeface="Helvetica"/>
              </a:rPr>
              <a:t>Cost optimization models with imperfect assumptions </a:t>
            </a:r>
            <a:endParaRPr lang="en-US" sz="1600" dirty="0">
              <a:solidFill>
                <a:schemeClr val="bg1"/>
              </a:solidFill>
              <a:latin typeface="Helvetica" pitchFamily="2" charset="0"/>
              <a:cs typeface="Helvetic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Helvetica"/>
                <a:cs typeface="Helvetica"/>
              </a:rPr>
              <a:t>BECCS serves as a proxy for CDR more generall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 dirty="0">
                <a:solidFill>
                  <a:schemeClr val="bg1"/>
                </a:solidFill>
                <a:latin typeface="Helvetica"/>
                <a:cs typeface="Helvetica"/>
              </a:rPr>
              <a:t>IPCC scenarios do not include some real-life constraints (e.g., limit to biomass supply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Helvetica" pitchFamily="2" charset="0"/>
            </a:endParaRPr>
          </a:p>
          <a:p>
            <a:pPr>
              <a:lnSpc>
                <a:spcPct val="150000"/>
              </a:lnSpc>
            </a:pPr>
            <a:endParaRPr lang="en-US" sz="1600" dirty="0">
              <a:solidFill>
                <a:schemeClr val="bg1"/>
              </a:solidFill>
              <a:latin typeface="Helvetica" pitchFamily="2" charset="0"/>
            </a:endParaRPr>
          </a:p>
          <a:p>
            <a:pPr>
              <a:lnSpc>
                <a:spcPct val="150000"/>
              </a:lnSpc>
            </a:pPr>
            <a:endParaRPr lang="en-US" sz="1600" dirty="0">
              <a:solidFill>
                <a:srgbClr val="006DBE"/>
              </a:solidFill>
              <a:latin typeface="Helvetica" pitchFamily="2" charset="0"/>
            </a:endParaRP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2419D0D-4A1A-4000-947F-D8013685812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44" b="17444"/>
          <a:stretch>
            <a:fillRect/>
          </a:stretch>
        </p:blipFill>
        <p:spPr/>
      </p:pic>
      <p:sp>
        <p:nvSpPr>
          <p:cNvPr id="6" name="Oval 5"/>
          <p:cNvSpPr/>
          <p:nvPr/>
        </p:nvSpPr>
        <p:spPr>
          <a:xfrm>
            <a:off x="5405021" y="3506540"/>
            <a:ext cx="1401072" cy="1401070"/>
          </a:xfrm>
          <a:prstGeom prst="ellipse">
            <a:avLst/>
          </a:prstGeom>
          <a:solidFill>
            <a:srgbClr val="5CC3B3"/>
          </a:solidFill>
          <a:ln>
            <a:solidFill>
              <a:srgbClr val="5CC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A842371-4C47-B614-8A87-2DD29AE128D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6289" r="49039"/>
          <a:stretch/>
        </p:blipFill>
        <p:spPr>
          <a:xfrm>
            <a:off x="0" y="1146919"/>
            <a:ext cx="5299788" cy="2413866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03722FE-0DCF-6532-1CFA-2426356175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3560785"/>
            <a:ext cx="5299788" cy="236176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9F93DC0-85BD-74C2-EA2D-CAEA751C9C68}"/>
              </a:ext>
            </a:extLst>
          </p:cNvPr>
          <p:cNvSpPr txBox="1"/>
          <p:nvPr/>
        </p:nvSpPr>
        <p:spPr>
          <a:xfrm>
            <a:off x="112144" y="5939798"/>
            <a:ext cx="16648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>
                <a:latin typeface="Helvetica" pitchFamily="2" charset="0"/>
              </a:rPr>
              <a:t>IPCC SR15</a:t>
            </a:r>
          </a:p>
        </p:txBody>
      </p:sp>
    </p:spTree>
    <p:extLst>
      <p:ext uri="{BB962C8B-B14F-4D97-AF65-F5344CB8AC3E}">
        <p14:creationId xmlns:p14="http://schemas.microsoft.com/office/powerpoint/2010/main" val="335915919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90BAFF9-C14D-4E16-AD1F-2E968EAC43B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86" b="24186"/>
          <a:stretch>
            <a:fillRect/>
          </a:stretch>
        </p:blipFill>
        <p:spPr/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D856E102-5BD6-4CBA-B116-2A3FC5A82171}"/>
              </a:ext>
            </a:extLst>
          </p:cNvPr>
          <p:cNvSpPr/>
          <p:nvPr/>
        </p:nvSpPr>
        <p:spPr>
          <a:xfrm>
            <a:off x="0" y="-39471"/>
            <a:ext cx="12192000" cy="6858000"/>
          </a:xfrm>
          <a:prstGeom prst="rect">
            <a:avLst/>
          </a:prstGeom>
          <a:solidFill>
            <a:srgbClr val="5CC3B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AA66A7-E8D4-4D19-A21F-FE44C8C8ADFC}"/>
              </a:ext>
            </a:extLst>
          </p:cNvPr>
          <p:cNvSpPr txBox="1"/>
          <p:nvPr/>
        </p:nvSpPr>
        <p:spPr>
          <a:xfrm>
            <a:off x="132217" y="965884"/>
            <a:ext cx="11812296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TT Hoves"/>
                <a:ea typeface="Open Sans"/>
                <a:cs typeface="Open Sans"/>
              </a:rPr>
              <a:t>Carbon Dioxide Removal: </a:t>
            </a:r>
            <a:endParaRPr lang="en-US" sz="7200" b="1">
              <a:solidFill>
                <a:schemeClr val="bg1"/>
              </a:solidFill>
              <a:latin typeface="TT Hoves" panose="02000803040000020004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7200" b="1">
                <a:solidFill>
                  <a:srgbClr val="FF5F4C"/>
                </a:solidFill>
                <a:latin typeface="TT Hoves"/>
                <a:ea typeface="Open Sans"/>
                <a:cs typeface="Open Sans"/>
              </a:rPr>
              <a:t>What</a:t>
            </a:r>
          </a:p>
          <a:p>
            <a:pPr algn="ctr"/>
            <a:r>
              <a:rPr lang="en-US" sz="7200" b="1">
                <a:solidFill>
                  <a:srgbClr val="006DBE"/>
                </a:solidFill>
                <a:latin typeface="TT Hoves"/>
                <a:ea typeface="Open Sans"/>
                <a:cs typeface="Calibri"/>
              </a:rPr>
              <a:t> Why </a:t>
            </a:r>
            <a:endParaRPr lang="en-US" sz="7200" b="1">
              <a:solidFill>
                <a:srgbClr val="002D44"/>
              </a:solidFill>
              <a:latin typeface="TT Hoves"/>
              <a:ea typeface="Open Sans"/>
              <a:cs typeface="Calibri"/>
            </a:endParaRPr>
          </a:p>
          <a:p>
            <a:pPr algn="ctr"/>
            <a:r>
              <a:rPr lang="en-US" sz="7200" b="1">
                <a:solidFill>
                  <a:srgbClr val="002D44"/>
                </a:solidFill>
                <a:latin typeface="TT Hoves"/>
                <a:ea typeface="Open Sans"/>
                <a:cs typeface="Calibri"/>
              </a:rPr>
              <a:t>How</a:t>
            </a:r>
            <a:endParaRPr lang="en-US" sz="7200" b="1">
              <a:solidFill>
                <a:srgbClr val="002D44"/>
              </a:solidFill>
              <a:latin typeface="TT Hoves"/>
              <a:ea typeface="Open Sans" panose="020B0606030504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478215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AC4E3C1-CCC1-4CA7-875C-C49F6B3B2A00}"/>
              </a:ext>
            </a:extLst>
          </p:cNvPr>
          <p:cNvSpPr/>
          <p:nvPr/>
        </p:nvSpPr>
        <p:spPr>
          <a:xfrm>
            <a:off x="5299788" y="1548882"/>
            <a:ext cx="6892212" cy="3760236"/>
          </a:xfrm>
          <a:prstGeom prst="rect">
            <a:avLst/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39AB2-1BE1-4D3E-BFC5-CBA5161A4F8A}"/>
              </a:ext>
            </a:extLst>
          </p:cNvPr>
          <p:cNvSpPr txBox="1"/>
          <p:nvPr/>
        </p:nvSpPr>
        <p:spPr>
          <a:xfrm>
            <a:off x="6892211" y="2026223"/>
            <a:ext cx="4471477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>
                <a:solidFill>
                  <a:srgbClr val="006DBE"/>
                </a:solidFill>
                <a:latin typeface="TT Hoves" panose="02000803040000020004" pitchFamily="2" charset="0"/>
              </a:rPr>
              <a:t>Carbon Dioxide Removal is unavoidab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E47D4-9C26-43C4-9AF0-97E9AB161BFA}"/>
              </a:ext>
            </a:extLst>
          </p:cNvPr>
          <p:cNvSpPr txBox="1"/>
          <p:nvPr/>
        </p:nvSpPr>
        <p:spPr>
          <a:xfrm>
            <a:off x="6892212" y="3013822"/>
            <a:ext cx="4276032" cy="22631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endParaRPr lang="en-US" sz="1600">
              <a:solidFill>
                <a:schemeClr val="bg1"/>
              </a:solidFill>
              <a:latin typeface="Helvetica" pitchFamily="2" charset="0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To accelerate climate action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To balance out residual GHG emissions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Helvetica" pitchFamily="2" charset="0"/>
              </a:rPr>
              <a:t>To reduce global CO2 concentrations</a:t>
            </a:r>
          </a:p>
          <a:p>
            <a:pPr>
              <a:lnSpc>
                <a:spcPct val="150000"/>
              </a:lnSpc>
            </a:pPr>
            <a:endParaRPr lang="en-US" sz="1600">
              <a:solidFill>
                <a:schemeClr val="bg1"/>
              </a:solidFill>
              <a:latin typeface="Helvetica" pitchFamily="2" charset="0"/>
            </a:endParaRPr>
          </a:p>
          <a:p>
            <a:pPr>
              <a:lnSpc>
                <a:spcPct val="150000"/>
              </a:lnSpc>
            </a:pPr>
            <a:r>
              <a:rPr lang="en-US" sz="1600">
                <a:solidFill>
                  <a:srgbClr val="006DBE"/>
                </a:solidFill>
                <a:latin typeface="Helvetica" pitchFamily="2" charset="0"/>
              </a:rPr>
              <a:t>NB: Carbon neutrality =/= Climate neutrality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2419D0D-4A1A-4000-947F-D8013685812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44" b="17444"/>
          <a:stretch>
            <a:fillRect/>
          </a:stretch>
        </p:blipFill>
        <p:spPr/>
      </p:pic>
      <p:sp>
        <p:nvSpPr>
          <p:cNvPr id="6" name="Oval 5"/>
          <p:cNvSpPr/>
          <p:nvPr/>
        </p:nvSpPr>
        <p:spPr>
          <a:xfrm>
            <a:off x="5405021" y="3506540"/>
            <a:ext cx="1401072" cy="1401070"/>
          </a:xfrm>
          <a:prstGeom prst="ellipse">
            <a:avLst/>
          </a:prstGeom>
          <a:solidFill>
            <a:srgbClr val="5CC3B3"/>
          </a:solidFill>
          <a:ln>
            <a:solidFill>
              <a:srgbClr val="5CC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FE41C9B-39DE-6015-FCE0-E969CAF00CD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74903"/>
            <a:ext cx="5969307" cy="4153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3444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90BAFF9-C14D-4E16-AD1F-2E968EAC43B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86" b="24186"/>
          <a:stretch>
            <a:fillRect/>
          </a:stretch>
        </p:blipFill>
        <p:spPr/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D856E102-5BD6-4CBA-B116-2A3FC5A82171}"/>
              </a:ext>
            </a:extLst>
          </p:cNvPr>
          <p:cNvSpPr/>
          <p:nvPr/>
        </p:nvSpPr>
        <p:spPr>
          <a:xfrm>
            <a:off x="0" y="-39471"/>
            <a:ext cx="12192000" cy="6858000"/>
          </a:xfrm>
          <a:prstGeom prst="rect">
            <a:avLst/>
          </a:prstGeom>
          <a:solidFill>
            <a:srgbClr val="5CC3B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AA66A7-E8D4-4D19-A21F-FE44C8C8ADFC}"/>
              </a:ext>
            </a:extLst>
          </p:cNvPr>
          <p:cNvSpPr txBox="1"/>
          <p:nvPr/>
        </p:nvSpPr>
        <p:spPr>
          <a:xfrm>
            <a:off x="132217" y="965884"/>
            <a:ext cx="11812296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TT Hoves"/>
                <a:ea typeface="Open Sans"/>
                <a:cs typeface="Open Sans"/>
              </a:rPr>
              <a:t>Carbon Dioxide Removal: </a:t>
            </a:r>
            <a:endParaRPr lang="en-US" sz="7200" b="1">
              <a:solidFill>
                <a:schemeClr val="bg1"/>
              </a:solidFill>
              <a:latin typeface="TT Hoves" panose="02000803040000020004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7200" b="1">
                <a:solidFill>
                  <a:schemeClr val="bg1">
                    <a:lumMod val="75000"/>
                  </a:schemeClr>
                </a:solidFill>
                <a:latin typeface="TT Hoves"/>
                <a:ea typeface="Open Sans"/>
                <a:cs typeface="Open Sans"/>
              </a:rPr>
              <a:t>What</a:t>
            </a:r>
          </a:p>
          <a:p>
            <a:pPr algn="ctr"/>
            <a:r>
              <a:rPr lang="en-US" sz="7200" b="1">
                <a:solidFill>
                  <a:schemeClr val="bg1">
                    <a:lumMod val="75000"/>
                  </a:schemeClr>
                </a:solidFill>
                <a:latin typeface="TT Hoves"/>
                <a:ea typeface="Open Sans"/>
                <a:cs typeface="Calibri"/>
              </a:rPr>
              <a:t> Why</a:t>
            </a:r>
            <a:r>
              <a:rPr lang="en-US" sz="7200" b="1">
                <a:solidFill>
                  <a:srgbClr val="006DBE"/>
                </a:solidFill>
                <a:latin typeface="TT Hoves"/>
                <a:ea typeface="Open Sans"/>
                <a:cs typeface="Calibri"/>
              </a:rPr>
              <a:t> </a:t>
            </a:r>
            <a:endParaRPr lang="en-US" sz="7200" b="1">
              <a:solidFill>
                <a:srgbClr val="002D44"/>
              </a:solidFill>
              <a:latin typeface="TT Hoves"/>
              <a:ea typeface="Open Sans"/>
              <a:cs typeface="Calibri"/>
            </a:endParaRPr>
          </a:p>
          <a:p>
            <a:pPr algn="ctr"/>
            <a:r>
              <a:rPr lang="en-US" sz="7200" b="1">
                <a:solidFill>
                  <a:srgbClr val="002D44"/>
                </a:solidFill>
                <a:latin typeface="TT Hoves"/>
                <a:ea typeface="Open Sans"/>
                <a:cs typeface="Calibri"/>
              </a:rPr>
              <a:t>How</a:t>
            </a:r>
            <a:endParaRPr lang="en-US" sz="7200" b="1">
              <a:solidFill>
                <a:srgbClr val="002D44"/>
              </a:solidFill>
              <a:latin typeface="TT Hoves"/>
              <a:ea typeface="Open Sans" panose="020B0606030504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33116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E7E2A77-564E-96FF-4470-F651DCCD5462}"/>
              </a:ext>
            </a:extLst>
          </p:cNvPr>
          <p:cNvSpPr txBox="1">
            <a:spLocks/>
          </p:cNvSpPr>
          <p:nvPr/>
        </p:nvSpPr>
        <p:spPr>
          <a:xfrm>
            <a:off x="707162" y="9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4000" b="1">
                <a:solidFill>
                  <a:srgbClr val="006DBE"/>
                </a:solidFill>
                <a:latin typeface="TT Hoves"/>
                <a:ea typeface="+mn-ea"/>
                <a:cs typeface="+mn-cs"/>
              </a:rPr>
              <a:t>How can we use carbon removal?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7" name="Google Shape;295;p50">
            <a:extLst>
              <a:ext uri="{FF2B5EF4-FFF2-40B4-BE49-F238E27FC236}">
                <a16:creationId xmlns:a16="http://schemas.microsoft.com/office/drawing/2014/main" id="{EB2A3C32-DDF7-2344-7B1E-9A0AAF6E67DF}"/>
              </a:ext>
            </a:extLst>
          </p:cNvPr>
          <p:cNvSpPr txBox="1">
            <a:spLocks/>
          </p:cNvSpPr>
          <p:nvPr/>
        </p:nvSpPr>
        <p:spPr>
          <a:xfrm>
            <a:off x="306672" y="1606193"/>
            <a:ext cx="11684492" cy="379053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AutoNum type="arabicPeriod"/>
            </a:pPr>
            <a:r>
              <a:rPr lang="en-GB" b="1"/>
              <a:t>Negative carbon flux</a:t>
            </a:r>
            <a:r>
              <a:rPr lang="en-GB"/>
              <a:t> – A flow of CO2 from atmosphere into a carbon stock</a:t>
            </a:r>
            <a:endParaRPr lang="en-US">
              <a:ea typeface="Calibri"/>
              <a:cs typeface="Calibri"/>
            </a:endParaRPr>
          </a:p>
          <a:p>
            <a:pPr marL="457200" indent="-3175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  <a:buAutoNum type="arabicPeriod"/>
            </a:pPr>
            <a:endParaRPr lang="en-GB">
              <a:cs typeface="Calibri"/>
            </a:endParaRPr>
          </a:p>
          <a:p>
            <a:pPr marL="457200" indent="-3175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  <a:buAutoNum type="arabicPeriod"/>
            </a:pPr>
            <a:r>
              <a:rPr lang="en-GB" b="1">
                <a:cs typeface="Calibri"/>
              </a:rPr>
              <a:t>Carbon removal</a:t>
            </a:r>
            <a:r>
              <a:rPr lang="en-GB">
                <a:cs typeface="Calibri"/>
              </a:rPr>
              <a:t> – The portion of the negative flux that is attributed to human action, secured for long-term storage, and net of associated emissions</a:t>
            </a:r>
            <a:endParaRPr lang="en-GB">
              <a:ea typeface="Calibri"/>
              <a:cs typeface="Calibri"/>
            </a:endParaRPr>
          </a:p>
          <a:p>
            <a:pPr marL="457200" indent="-3175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  <a:buAutoNum type="arabicPeriod"/>
            </a:pPr>
            <a:endParaRPr lang="en-GB">
              <a:ea typeface="Calibri"/>
              <a:cs typeface="Calibri"/>
            </a:endParaRPr>
          </a:p>
          <a:p>
            <a:pPr marL="457200" indent="-3175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  <a:buAutoNum type="arabicPeriod"/>
            </a:pPr>
            <a:r>
              <a:rPr lang="en-GB" b="1">
                <a:ea typeface="Calibri"/>
                <a:cs typeface="Calibri"/>
              </a:rPr>
              <a:t>Climate benefit</a:t>
            </a:r>
            <a:r>
              <a:rPr lang="en-GB">
                <a:ea typeface="Calibri"/>
                <a:cs typeface="Calibri"/>
              </a:rPr>
              <a:t> – The portion of the carbon removal that is claimed to </a:t>
            </a:r>
          </a:p>
        </p:txBody>
      </p:sp>
    </p:spTree>
    <p:extLst>
      <p:ext uri="{BB962C8B-B14F-4D97-AF65-F5344CB8AC3E}">
        <p14:creationId xmlns:p14="http://schemas.microsoft.com/office/powerpoint/2010/main" val="319643451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ame Side Corner Rectangle 4"/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D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9F1760F-F4EF-A430-EA30-8DCB4CF0EC73}"/>
              </a:ext>
            </a:extLst>
          </p:cNvPr>
          <p:cNvCxnSpPr>
            <a:cxnSpLocks/>
          </p:cNvCxnSpPr>
          <p:nvPr/>
        </p:nvCxnSpPr>
        <p:spPr>
          <a:xfrm>
            <a:off x="480655" y="4988944"/>
            <a:ext cx="1123509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F16298D-531D-9D79-B6A6-DC27A94A2F01}"/>
              </a:ext>
            </a:extLst>
          </p:cNvPr>
          <p:cNvGrpSpPr/>
          <p:nvPr/>
        </p:nvGrpSpPr>
        <p:grpSpPr>
          <a:xfrm>
            <a:off x="8534" y="1032661"/>
            <a:ext cx="3908950" cy="4683308"/>
            <a:chOff x="8534" y="671701"/>
            <a:chExt cx="3908950" cy="468330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91A6C-344E-0B06-3F3A-E2927E18D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34" y="1789961"/>
              <a:ext cx="3565048" cy="3565048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2ECD72D-1A92-E57B-5D43-2FDEF573F5C8}"/>
                </a:ext>
              </a:extLst>
            </p:cNvPr>
            <p:cNvSpPr txBox="1"/>
            <p:nvPr/>
          </p:nvSpPr>
          <p:spPr>
            <a:xfrm>
              <a:off x="191784" y="671701"/>
              <a:ext cx="37257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L" sz="2000" b="1">
                  <a:solidFill>
                    <a:srgbClr val="003145"/>
                  </a:solidFill>
                  <a:latin typeface="Helvetica" pitchFamily="2" charset="0"/>
                </a:rPr>
                <a:t>CO₂ Avoidance:</a:t>
              </a:r>
            </a:p>
            <a:p>
              <a:r>
                <a:rPr lang="en-NL" sz="2000">
                  <a:latin typeface="Helvetica" pitchFamily="2" charset="0"/>
                </a:rPr>
                <a:t>measures an </a:t>
              </a:r>
              <a:r>
                <a:rPr lang="en-NL" sz="2000" b="1">
                  <a:latin typeface="Helvetica" pitchFamily="2" charset="0"/>
                </a:rPr>
                <a:t>assumption </a:t>
              </a:r>
              <a:r>
                <a:rPr lang="en-NL" sz="2000">
                  <a:latin typeface="Helvetica" pitchFamily="2" charset="0"/>
                </a:rPr>
                <a:t>in</a:t>
              </a:r>
            </a:p>
            <a:p>
              <a:r>
                <a:rPr lang="en-NL" sz="2000" i="1">
                  <a:latin typeface="Helvetica" pitchFamily="2" charset="0"/>
                </a:rPr>
                <a:t>t CO₂ assumed to be avoided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EA4D012-FF8E-41D2-9415-7123722A13CF}"/>
              </a:ext>
            </a:extLst>
          </p:cNvPr>
          <p:cNvGrpSpPr/>
          <p:nvPr/>
        </p:nvGrpSpPr>
        <p:grpSpPr>
          <a:xfrm>
            <a:off x="3810839" y="1023136"/>
            <a:ext cx="3565048" cy="4703486"/>
            <a:chOff x="3810839" y="671701"/>
            <a:chExt cx="3565048" cy="4703486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F1608BB-0995-329E-D2C9-92ABA5626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839" y="1810139"/>
              <a:ext cx="3565048" cy="3565048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F8F4CA4-8C03-1D7D-BC2B-357703B6DA3F}"/>
                </a:ext>
              </a:extLst>
            </p:cNvPr>
            <p:cNvSpPr txBox="1"/>
            <p:nvPr/>
          </p:nvSpPr>
          <p:spPr>
            <a:xfrm>
              <a:off x="3970354" y="671701"/>
              <a:ext cx="2763898" cy="101566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b="1">
                  <a:solidFill>
                    <a:srgbClr val="003145"/>
                  </a:solidFill>
                  <a:latin typeface="Helvetica" pitchFamily="2" charset="0"/>
                </a:rPr>
                <a:t>CO₂ Reduction:</a:t>
              </a:r>
            </a:p>
            <a:p>
              <a:r>
                <a:rPr lang="en-NL" sz="2000">
                  <a:latin typeface="Helvetica" pitchFamily="2" charset="0"/>
                </a:rPr>
                <a:t>measures a </a:t>
              </a:r>
              <a:r>
                <a:rPr lang="en-NL" sz="2000" b="1">
                  <a:latin typeface="Helvetica" pitchFamily="2" charset="0"/>
                </a:rPr>
                <a:t>change </a:t>
              </a:r>
              <a:r>
                <a:rPr lang="en-NL" sz="2000">
                  <a:latin typeface="Helvetica" pitchFamily="2" charset="0"/>
                </a:rPr>
                <a:t>in</a:t>
              </a:r>
            </a:p>
            <a:p>
              <a:r>
                <a:rPr lang="en-NL" sz="2000" i="1">
                  <a:latin typeface="Helvetica" pitchFamily="2" charset="0"/>
                </a:rPr>
                <a:t>t CO₂ less than before</a:t>
              </a:r>
              <a:endParaRPr lang="en-NL" sz="2000" b="1">
                <a:latin typeface="Helvetica" pitchFamily="2" charset="0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C1337F8-D370-98CA-661D-52EF3AD28F8C}"/>
              </a:ext>
            </a:extLst>
          </p:cNvPr>
          <p:cNvGrpSpPr/>
          <p:nvPr/>
        </p:nvGrpSpPr>
        <p:grpSpPr>
          <a:xfrm>
            <a:off x="7553714" y="1032661"/>
            <a:ext cx="4830069" cy="5856602"/>
            <a:chOff x="7553714" y="671701"/>
            <a:chExt cx="4830069" cy="585660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1F89BC6-A5F2-E6AB-A492-88849FD701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53714" y="1884783"/>
              <a:ext cx="4643520" cy="4643520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9477DA7-520E-2C7A-A627-F46075DC937A}"/>
                </a:ext>
              </a:extLst>
            </p:cNvPr>
            <p:cNvSpPr txBox="1"/>
            <p:nvPr/>
          </p:nvSpPr>
          <p:spPr>
            <a:xfrm>
              <a:off x="7935153" y="671701"/>
              <a:ext cx="4448630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L" sz="2000" b="1">
                  <a:solidFill>
                    <a:srgbClr val="003145"/>
                  </a:solidFill>
                  <a:latin typeface="Helvetica" pitchFamily="2" charset="0"/>
                </a:rPr>
                <a:t>CO₂ Removal</a:t>
              </a:r>
              <a:r>
                <a:rPr lang="en-NL" sz="2000">
                  <a:solidFill>
                    <a:srgbClr val="003145"/>
                  </a:solidFill>
                  <a:latin typeface="Helvetica" pitchFamily="2" charset="0"/>
                </a:rPr>
                <a:t>:</a:t>
              </a:r>
            </a:p>
            <a:p>
              <a:r>
                <a:rPr lang="en-NL" sz="2000">
                  <a:latin typeface="Helvetica" pitchFamily="2" charset="0"/>
                </a:rPr>
                <a:t>measures a </a:t>
              </a:r>
              <a:r>
                <a:rPr lang="en-GB" sz="2000" b="1">
                  <a:latin typeface="Helvetica" pitchFamily="2" charset="0"/>
                </a:rPr>
                <a:t>p</a:t>
              </a:r>
              <a:r>
                <a:rPr lang="en-NL" sz="2000" b="1">
                  <a:latin typeface="Helvetica" pitchFamily="2" charset="0"/>
                </a:rPr>
                <a:t>hysical flow </a:t>
              </a:r>
              <a:r>
                <a:rPr lang="en-NL" sz="2000">
                  <a:latin typeface="Helvetica" pitchFamily="2" charset="0"/>
                </a:rPr>
                <a:t>in</a:t>
              </a:r>
            </a:p>
            <a:p>
              <a:r>
                <a:rPr lang="en-GB" sz="2000" i="1">
                  <a:latin typeface="Helvetica" pitchFamily="2" charset="0"/>
                </a:rPr>
                <a:t>t</a:t>
              </a:r>
              <a:r>
                <a:rPr lang="en-NL" sz="2000" i="1">
                  <a:latin typeface="Helvetica" pitchFamily="2" charset="0"/>
                </a:rPr>
                <a:t> CO₂ removed from the atmsophere</a:t>
              </a:r>
            </a:p>
            <a:p>
              <a:r>
                <a:rPr lang="en-NL" sz="2000" i="1">
                  <a:latin typeface="Helvetica" pitchFamily="2" charset="0"/>
                </a:rPr>
                <a:t>            (net of associated emissions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1190345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 Same Side Corner Rectangle 4"/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D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6F16298D-531D-9D79-B6A6-DC27A94A2F01}"/>
              </a:ext>
            </a:extLst>
          </p:cNvPr>
          <p:cNvGrpSpPr/>
          <p:nvPr/>
        </p:nvGrpSpPr>
        <p:grpSpPr>
          <a:xfrm>
            <a:off x="8534" y="1032661"/>
            <a:ext cx="3908950" cy="4683308"/>
            <a:chOff x="8534" y="671701"/>
            <a:chExt cx="3908950" cy="4683308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6DF91A6C-344E-0B06-3F3A-E2927E18D7B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534" y="1789961"/>
              <a:ext cx="3565048" cy="3565048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2ECD72D-1A92-E57B-5D43-2FDEF573F5C8}"/>
                </a:ext>
              </a:extLst>
            </p:cNvPr>
            <p:cNvSpPr txBox="1"/>
            <p:nvPr/>
          </p:nvSpPr>
          <p:spPr>
            <a:xfrm>
              <a:off x="191784" y="671701"/>
              <a:ext cx="372570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L" sz="2000" b="1">
                  <a:solidFill>
                    <a:srgbClr val="003145"/>
                  </a:solidFill>
                  <a:latin typeface="Helvetica" pitchFamily="2" charset="0"/>
                </a:rPr>
                <a:t>CO₂ Avoidance:</a:t>
              </a:r>
            </a:p>
            <a:p>
              <a:r>
                <a:rPr lang="en-NL" sz="2000">
                  <a:latin typeface="Helvetica" pitchFamily="2" charset="0"/>
                </a:rPr>
                <a:t>measures a </a:t>
              </a:r>
              <a:r>
                <a:rPr lang="en-GB" sz="2000" b="1">
                  <a:latin typeface="Helvetica" pitchFamily="2" charset="0"/>
                </a:rPr>
                <a:t>“n</a:t>
              </a:r>
              <a:r>
                <a:rPr lang="en-NL" sz="2000" b="1">
                  <a:latin typeface="Helvetica" pitchFamily="2" charset="0"/>
                </a:rPr>
                <a:t>on-emission”</a:t>
              </a: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3EA4D012-FF8E-41D2-9415-7123722A13CF}"/>
              </a:ext>
            </a:extLst>
          </p:cNvPr>
          <p:cNvGrpSpPr/>
          <p:nvPr/>
        </p:nvGrpSpPr>
        <p:grpSpPr>
          <a:xfrm>
            <a:off x="3810839" y="1023136"/>
            <a:ext cx="3676825" cy="4703486"/>
            <a:chOff x="3810839" y="671701"/>
            <a:chExt cx="3676825" cy="4703486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F1608BB-0995-329E-D2C9-92ABA56260EA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839" y="1810139"/>
              <a:ext cx="3565048" cy="3565048"/>
            </a:xfrm>
            <a:prstGeom prst="rect">
              <a:avLst/>
            </a:prstGeom>
          </p:spPr>
        </p:pic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3F8F4CA4-8C03-1D7D-BC2B-357703B6DA3F}"/>
                </a:ext>
              </a:extLst>
            </p:cNvPr>
            <p:cNvSpPr txBox="1"/>
            <p:nvPr/>
          </p:nvSpPr>
          <p:spPr>
            <a:xfrm>
              <a:off x="3970354" y="671701"/>
              <a:ext cx="3517310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NL" sz="2000" b="1">
                  <a:solidFill>
                    <a:srgbClr val="003145"/>
                  </a:solidFill>
                  <a:latin typeface="Helvetica" pitchFamily="2" charset="0"/>
                </a:rPr>
                <a:t>CO₂ Reduction:</a:t>
              </a:r>
            </a:p>
            <a:p>
              <a:r>
                <a:rPr lang="en-NL" sz="2000">
                  <a:latin typeface="Helvetica" pitchFamily="2" charset="0"/>
                </a:rPr>
                <a:t>measures a </a:t>
              </a:r>
              <a:r>
                <a:rPr lang="en-GB" sz="2000" b="1">
                  <a:latin typeface="Helvetica" pitchFamily="2" charset="0"/>
                </a:rPr>
                <a:t>“n</a:t>
              </a:r>
              <a:r>
                <a:rPr lang="en-NL" sz="2000" b="1">
                  <a:latin typeface="Helvetica" pitchFamily="2" charset="0"/>
                </a:rPr>
                <a:t>on-emission”</a:t>
              </a: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C1337F8-D370-98CA-661D-52EF3AD28F8C}"/>
              </a:ext>
            </a:extLst>
          </p:cNvPr>
          <p:cNvGrpSpPr/>
          <p:nvPr/>
        </p:nvGrpSpPr>
        <p:grpSpPr>
          <a:xfrm>
            <a:off x="7553714" y="1032661"/>
            <a:ext cx="4643520" cy="5856602"/>
            <a:chOff x="7553714" y="671701"/>
            <a:chExt cx="4643520" cy="5856602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A1F89BC6-A5F2-E6AB-A492-88849FD7013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7553714" y="1884783"/>
              <a:ext cx="4643520" cy="4643520"/>
            </a:xfrm>
            <a:prstGeom prst="rect">
              <a:avLst/>
            </a:prstGeom>
          </p:spPr>
        </p:pic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39477DA7-520E-2C7A-A627-F46075DC937A}"/>
                </a:ext>
              </a:extLst>
            </p:cNvPr>
            <p:cNvSpPr txBox="1"/>
            <p:nvPr/>
          </p:nvSpPr>
          <p:spPr>
            <a:xfrm>
              <a:off x="7935153" y="671701"/>
              <a:ext cx="4245503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NL" sz="2000" b="1">
                  <a:solidFill>
                    <a:srgbClr val="003145"/>
                  </a:solidFill>
                  <a:latin typeface="Helvetica" pitchFamily="2" charset="0"/>
                </a:rPr>
                <a:t>CO₂ Removal</a:t>
              </a:r>
              <a:r>
                <a:rPr lang="en-NL" sz="2000">
                  <a:solidFill>
                    <a:srgbClr val="003145"/>
                  </a:solidFill>
                  <a:latin typeface="Helvetica" pitchFamily="2" charset="0"/>
                </a:rPr>
                <a:t>:</a:t>
              </a:r>
            </a:p>
            <a:p>
              <a:r>
                <a:rPr lang="en-NL" sz="2000">
                  <a:latin typeface="Helvetica" pitchFamily="2" charset="0"/>
                </a:rPr>
                <a:t>measures a </a:t>
              </a:r>
              <a:r>
                <a:rPr lang="en-GB" sz="2000" b="1">
                  <a:latin typeface="Helvetica" pitchFamily="2" charset="0"/>
                </a:rPr>
                <a:t>p</a:t>
              </a:r>
              <a:r>
                <a:rPr lang="en-NL" sz="2000" b="1">
                  <a:latin typeface="Helvetica" pitchFamily="2" charset="0"/>
                </a:rPr>
                <a:t>hysical flow</a:t>
              </a:r>
            </a:p>
          </p:txBody>
        </p:sp>
      </p:grpSp>
      <p:sp>
        <p:nvSpPr>
          <p:cNvPr id="2" name="Rectangle 1">
            <a:extLst>
              <a:ext uri="{FF2B5EF4-FFF2-40B4-BE49-F238E27FC236}">
                <a16:creationId xmlns:a16="http://schemas.microsoft.com/office/drawing/2014/main" id="{B1FEC0B4-3F35-DBD8-C9EE-7191B3ABB6EA}"/>
              </a:ext>
            </a:extLst>
          </p:cNvPr>
          <p:cNvSpPr/>
          <p:nvPr/>
        </p:nvSpPr>
        <p:spPr>
          <a:xfrm>
            <a:off x="505618" y="2350515"/>
            <a:ext cx="1548000" cy="3282059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DC38CB7-B939-9274-B608-FC5EDC1F34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6548" t="9288" r="44660" b="68060"/>
          <a:stretch/>
        </p:blipFill>
        <p:spPr>
          <a:xfrm>
            <a:off x="592870" y="2494031"/>
            <a:ext cx="1387166" cy="810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BE64241-D7DA-8492-A8CD-BDD4D7F1371B}"/>
              </a:ext>
            </a:extLst>
          </p:cNvPr>
          <p:cNvSpPr/>
          <p:nvPr/>
        </p:nvSpPr>
        <p:spPr>
          <a:xfrm>
            <a:off x="2006497" y="2456373"/>
            <a:ext cx="1548000" cy="857182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5591B59-8A7A-0C91-C4F6-9D161823C8CE}"/>
              </a:ext>
            </a:extLst>
          </p:cNvPr>
          <p:cNvSpPr/>
          <p:nvPr/>
        </p:nvSpPr>
        <p:spPr>
          <a:xfrm>
            <a:off x="4237765" y="2398641"/>
            <a:ext cx="1537200" cy="3303791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D99BEB7-60B7-A7AF-D025-89D7D220D487}"/>
              </a:ext>
            </a:extLst>
          </p:cNvPr>
          <p:cNvSpPr/>
          <p:nvPr/>
        </p:nvSpPr>
        <p:spPr>
          <a:xfrm>
            <a:off x="8263974" y="2199780"/>
            <a:ext cx="1548000" cy="4510794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98B8914-31B4-B2A5-4CDC-065EA97918EB}"/>
              </a:ext>
            </a:extLst>
          </p:cNvPr>
          <p:cNvSpPr/>
          <p:nvPr/>
        </p:nvSpPr>
        <p:spPr>
          <a:xfrm>
            <a:off x="1818796" y="5044936"/>
            <a:ext cx="1548000" cy="312309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E180B44C-07DA-E133-7BB2-C2FD77434EED}"/>
              </a:ext>
            </a:extLst>
          </p:cNvPr>
          <p:cNvSpPr/>
          <p:nvPr/>
        </p:nvSpPr>
        <p:spPr>
          <a:xfrm>
            <a:off x="5781534" y="4997283"/>
            <a:ext cx="1548000" cy="312309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6DC0EE91-1481-4568-2E6E-17882065D860}"/>
              </a:ext>
            </a:extLst>
          </p:cNvPr>
          <p:cNvSpPr/>
          <p:nvPr/>
        </p:nvSpPr>
        <p:spPr>
          <a:xfrm>
            <a:off x="9452399" y="6264299"/>
            <a:ext cx="1548000" cy="280884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NL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9F1760F-F4EF-A430-EA30-8DCB4CF0EC73}"/>
              </a:ext>
            </a:extLst>
          </p:cNvPr>
          <p:cNvCxnSpPr>
            <a:cxnSpLocks/>
          </p:cNvCxnSpPr>
          <p:nvPr/>
        </p:nvCxnSpPr>
        <p:spPr>
          <a:xfrm>
            <a:off x="480655" y="4988944"/>
            <a:ext cx="11235095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63479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EE7E2A77-564E-96FF-4470-F651DCCD5462}"/>
              </a:ext>
            </a:extLst>
          </p:cNvPr>
          <p:cNvSpPr txBox="1">
            <a:spLocks/>
          </p:cNvSpPr>
          <p:nvPr/>
        </p:nvSpPr>
        <p:spPr>
          <a:xfrm>
            <a:off x="707162" y="928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IE" sz="4000" b="1">
                <a:solidFill>
                  <a:srgbClr val="006DBE"/>
                </a:solidFill>
                <a:latin typeface="TT Hoves"/>
                <a:ea typeface="+mn-ea"/>
                <a:cs typeface="+mn-cs"/>
              </a:rPr>
              <a:t>Claiming a climate benefit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7" name="Google Shape;295;p50">
            <a:extLst>
              <a:ext uri="{FF2B5EF4-FFF2-40B4-BE49-F238E27FC236}">
                <a16:creationId xmlns:a16="http://schemas.microsoft.com/office/drawing/2014/main" id="{EB2A3C32-DDF7-2344-7B1E-9A0AAF6E67DF}"/>
              </a:ext>
            </a:extLst>
          </p:cNvPr>
          <p:cNvSpPr txBox="1">
            <a:spLocks/>
          </p:cNvSpPr>
          <p:nvPr/>
        </p:nvSpPr>
        <p:spPr>
          <a:xfrm>
            <a:off x="176416" y="4094090"/>
            <a:ext cx="11332800" cy="2761505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39700" indent="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  <a:buNone/>
            </a:pPr>
            <a:r>
              <a:rPr lang="en-GB" b="1"/>
              <a:t>Compensation claims come with challenges:</a:t>
            </a:r>
            <a:endParaRPr lang="en-GB" b="1">
              <a:cs typeface="Calibri"/>
            </a:endParaRPr>
          </a:p>
          <a:p>
            <a:pPr marL="596900" indent="-4572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>
                <a:ea typeface="Calibri"/>
                <a:cs typeface="Calibri"/>
              </a:rPr>
              <a:t>Climate damages are non-linear and diverse, cannot be fully "neutralized"</a:t>
            </a:r>
          </a:p>
          <a:p>
            <a:pPr marL="596900" indent="-4572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>
                <a:ea typeface="Calibri"/>
                <a:cs typeface="Calibri"/>
              </a:rPr>
              <a:t>It matters </a:t>
            </a:r>
            <a:r>
              <a:rPr lang="en-GB" b="1" i="1">
                <a:ea typeface="Calibri"/>
                <a:cs typeface="Calibri"/>
              </a:rPr>
              <a:t>which emissions are being compensated for</a:t>
            </a:r>
          </a:p>
          <a:p>
            <a:pPr marL="825500" lvl="1" indent="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  <a:buNone/>
            </a:pPr>
            <a:r>
              <a:rPr lang="en-GB">
                <a:ea typeface="Calibri"/>
                <a:cs typeface="Calibri"/>
              </a:rPr>
              <a:t>Are the emissions "difficult to decarbonize"?</a:t>
            </a:r>
          </a:p>
          <a:p>
            <a:pPr marL="596900" indent="-4572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>
                <a:ea typeface="Calibri"/>
                <a:cs typeface="Calibri"/>
              </a:rPr>
              <a:t>It matters </a:t>
            </a:r>
            <a:r>
              <a:rPr lang="en-GB" b="1" i="1">
                <a:ea typeface="Calibri"/>
                <a:cs typeface="Calibri"/>
              </a:rPr>
              <a:t>which removals are being used to claim compensation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8BA71E0-AAE9-EE96-B4E3-0BEC9A4B95E0}"/>
              </a:ext>
            </a:extLst>
          </p:cNvPr>
          <p:cNvSpPr txBox="1"/>
          <p:nvPr/>
        </p:nvSpPr>
        <p:spPr>
          <a:xfrm>
            <a:off x="1471897" y="1276512"/>
            <a:ext cx="2743200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cs typeface="Calibri"/>
              </a:rPr>
              <a:t>Contribution claim</a:t>
            </a:r>
          </a:p>
          <a:p>
            <a:pPr algn="ctr"/>
            <a:r>
              <a:rPr lang="en-US" sz="2000">
                <a:cs typeface="Calibri"/>
              </a:rPr>
              <a:t>(positive action)</a:t>
            </a:r>
          </a:p>
        </p:txBody>
      </p:sp>
      <p:pic>
        <p:nvPicPr>
          <p:cNvPr id="4" name="Picture 5">
            <a:extLst>
              <a:ext uri="{FF2B5EF4-FFF2-40B4-BE49-F238E27FC236}">
                <a16:creationId xmlns:a16="http://schemas.microsoft.com/office/drawing/2014/main" id="{2F6A154B-0BCD-1690-1EC5-D29DEE1BA6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3118" y="2092284"/>
            <a:ext cx="2743200" cy="1996099"/>
          </a:xfrm>
          <a:prstGeom prst="rect">
            <a:avLst/>
          </a:prstGeom>
        </p:spPr>
      </p:pic>
      <p:sp>
        <p:nvSpPr>
          <p:cNvPr id="6" name="Left Bracket 5">
            <a:extLst>
              <a:ext uri="{FF2B5EF4-FFF2-40B4-BE49-F238E27FC236}">
                <a16:creationId xmlns:a16="http://schemas.microsoft.com/office/drawing/2014/main" id="{B9E2E1BA-9E2B-5543-C190-49FA1DDB51AB}"/>
              </a:ext>
            </a:extLst>
          </p:cNvPr>
          <p:cNvSpPr/>
          <p:nvPr/>
        </p:nvSpPr>
        <p:spPr>
          <a:xfrm>
            <a:off x="1650084" y="2089856"/>
            <a:ext cx="103572" cy="1250271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36A7AD3-D2BE-B7AB-90C1-C1F90892A9BF}"/>
              </a:ext>
            </a:extLst>
          </p:cNvPr>
          <p:cNvSpPr txBox="1"/>
          <p:nvPr/>
        </p:nvSpPr>
        <p:spPr>
          <a:xfrm>
            <a:off x="3666719" y="1732409"/>
            <a:ext cx="2072378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cs typeface="Calibri"/>
              </a:rPr>
              <a:t>"My € contribution directly caused this climate benefit"</a:t>
            </a:r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B23091-F5C3-7169-3776-31798C1ED482}"/>
              </a:ext>
            </a:extLst>
          </p:cNvPr>
          <p:cNvSpPr txBox="1"/>
          <p:nvPr/>
        </p:nvSpPr>
        <p:spPr>
          <a:xfrm>
            <a:off x="6017847" y="1237436"/>
            <a:ext cx="3029764" cy="76944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 b="1">
                <a:cs typeface="Calibri"/>
              </a:rPr>
              <a:t>Compensation claim</a:t>
            </a:r>
          </a:p>
          <a:p>
            <a:pPr algn="ctr"/>
            <a:r>
              <a:rPr lang="en-US" sz="2000">
                <a:cs typeface="Calibri"/>
              </a:rPr>
              <a:t>("neutralization")</a:t>
            </a:r>
          </a:p>
        </p:txBody>
      </p:sp>
      <p:pic>
        <p:nvPicPr>
          <p:cNvPr id="10" name="Picture 5" descr="A picture containing tree, plant&#10;&#10;Description automatically generated">
            <a:extLst>
              <a:ext uri="{FF2B5EF4-FFF2-40B4-BE49-F238E27FC236}">
                <a16:creationId xmlns:a16="http://schemas.microsoft.com/office/drawing/2014/main" id="{B0B8E4D7-FA57-0373-60BC-537A6442C4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6145497" y="2007617"/>
            <a:ext cx="2545210" cy="1989587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F6C6250-43A7-FEA9-EC1D-6418AB1A009D}"/>
              </a:ext>
            </a:extLst>
          </p:cNvPr>
          <p:cNvSpPr txBox="1"/>
          <p:nvPr/>
        </p:nvSpPr>
        <p:spPr>
          <a:xfrm>
            <a:off x="10055797" y="2051536"/>
            <a:ext cx="2026788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cs typeface="Calibri"/>
              </a:rPr>
              <a:t>"I bought carbon credits, which I claim </a:t>
            </a:r>
            <a:r>
              <a:rPr lang="en-US" b="1" i="1">
                <a:cs typeface="Calibri"/>
              </a:rPr>
              <a:t>compensate </a:t>
            </a:r>
            <a:r>
              <a:rPr lang="en-US">
                <a:cs typeface="Calibri"/>
              </a:rPr>
              <a:t>for some of my emissions"</a:t>
            </a:r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59CC14D-BB68-1C69-0F24-EE552C5A0A51}"/>
              </a:ext>
            </a:extLst>
          </p:cNvPr>
          <p:cNvSpPr/>
          <p:nvPr/>
        </p:nvSpPr>
        <p:spPr>
          <a:xfrm>
            <a:off x="8850923" y="2058051"/>
            <a:ext cx="423334" cy="2259948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343D41B-51D5-FC47-4388-46A9F66920B8}"/>
              </a:ext>
            </a:extLst>
          </p:cNvPr>
          <p:cNvSpPr/>
          <p:nvPr/>
        </p:nvSpPr>
        <p:spPr>
          <a:xfrm>
            <a:off x="9547796" y="3243385"/>
            <a:ext cx="423333" cy="1068100"/>
          </a:xfrm>
          <a:prstGeom prst="rect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9FD37A37-EDD4-50B3-1824-A5DEB783C6D0}"/>
              </a:ext>
            </a:extLst>
          </p:cNvPr>
          <p:cNvCxnSpPr/>
          <p:nvPr/>
        </p:nvCxnSpPr>
        <p:spPr>
          <a:xfrm flipV="1">
            <a:off x="8243115" y="4295694"/>
            <a:ext cx="2236500" cy="3907"/>
          </a:xfrm>
          <a:prstGeom prst="straightConnector1">
            <a:avLst/>
          </a:prstGeom>
          <a:ln>
            <a:solidFill>
              <a:schemeClr val="bg2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999A801-C3C9-DE29-5F72-3A470015C027}"/>
              </a:ext>
            </a:extLst>
          </p:cNvPr>
          <p:cNvSpPr/>
          <p:nvPr/>
        </p:nvSpPr>
        <p:spPr>
          <a:xfrm>
            <a:off x="9560821" y="2071078"/>
            <a:ext cx="403796" cy="11788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10000"/>
              </a:schemeClr>
            </a:solidFill>
            <a:prstDash val="sysDot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729CD3C3-6D74-A0F5-70B7-C6AD3D3319EB}"/>
              </a:ext>
            </a:extLst>
          </p:cNvPr>
          <p:cNvCxnSpPr>
            <a:cxnSpLocks/>
          </p:cNvCxnSpPr>
          <p:nvPr/>
        </p:nvCxnSpPr>
        <p:spPr>
          <a:xfrm>
            <a:off x="10124912" y="2065296"/>
            <a:ext cx="2606" cy="117491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Left Bracket 2">
            <a:extLst>
              <a:ext uri="{FF2B5EF4-FFF2-40B4-BE49-F238E27FC236}">
                <a16:creationId xmlns:a16="http://schemas.microsoft.com/office/drawing/2014/main" id="{D8460CF4-FAF9-1782-23BA-989C38D57C7F}"/>
              </a:ext>
            </a:extLst>
          </p:cNvPr>
          <p:cNvSpPr/>
          <p:nvPr/>
        </p:nvSpPr>
        <p:spPr>
          <a:xfrm flipH="1">
            <a:off x="8434104" y="2008477"/>
            <a:ext cx="147961" cy="1250271"/>
          </a:xfrm>
          <a:prstGeom prst="leftBracke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Arrow: Curved Down 17">
            <a:extLst>
              <a:ext uri="{FF2B5EF4-FFF2-40B4-BE49-F238E27FC236}">
                <a16:creationId xmlns:a16="http://schemas.microsoft.com/office/drawing/2014/main" id="{41CFB7A1-C04A-2D43-FBC9-DC49E2ACE06A}"/>
              </a:ext>
            </a:extLst>
          </p:cNvPr>
          <p:cNvSpPr/>
          <p:nvPr/>
        </p:nvSpPr>
        <p:spPr>
          <a:xfrm>
            <a:off x="8507766" y="1501805"/>
            <a:ext cx="1272466" cy="503067"/>
          </a:xfrm>
          <a:prstGeom prst="curvedDownArrow">
            <a:avLst/>
          </a:prstGeom>
          <a:solidFill>
            <a:schemeClr val="accent2">
              <a:lumMod val="60000"/>
              <a:lumOff val="40000"/>
            </a:schemeClr>
          </a:solidFill>
          <a:ln>
            <a:solidFill>
              <a:schemeClr val="accent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DC2B365-51DF-60AA-F6A8-FC1D3BF03D6E}"/>
              </a:ext>
            </a:extLst>
          </p:cNvPr>
          <p:cNvSpPr txBox="1"/>
          <p:nvPr/>
        </p:nvSpPr>
        <p:spPr>
          <a:xfrm>
            <a:off x="709897" y="3354102"/>
            <a:ext cx="1388534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cs typeface="Calibri"/>
              </a:rPr>
              <a:t>Baseline carbon</a:t>
            </a:r>
            <a:endParaRPr lang="en-US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ED134BD-99A7-44F1-1E79-AB76ECD558F4}"/>
              </a:ext>
            </a:extLst>
          </p:cNvPr>
          <p:cNvSpPr txBox="1"/>
          <p:nvPr/>
        </p:nvSpPr>
        <p:spPr>
          <a:xfrm>
            <a:off x="319128" y="2357641"/>
            <a:ext cx="1727200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>
                <a:cs typeface="Calibri"/>
              </a:rPr>
              <a:t>Removed carbon</a:t>
            </a:r>
          </a:p>
        </p:txBody>
      </p:sp>
    </p:spTree>
    <p:extLst>
      <p:ext uri="{BB962C8B-B14F-4D97-AF65-F5344CB8AC3E}">
        <p14:creationId xmlns:p14="http://schemas.microsoft.com/office/powerpoint/2010/main" val="7846641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  <p:bldP spid="12" grpId="0"/>
      <p:bldP spid="13" grpId="0" animBg="1"/>
      <p:bldP spid="14" grpId="0" animBg="1"/>
      <p:bldP spid="16" grpId="0" animBg="1"/>
      <p:bldP spid="18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agram&#10;&#10;Description automatically generated">
            <a:extLst>
              <a:ext uri="{FF2B5EF4-FFF2-40B4-BE49-F238E27FC236}">
                <a16:creationId xmlns:a16="http://schemas.microsoft.com/office/drawing/2014/main" id="{594A21EE-7F1F-A0C0-005A-7F553AC77B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603" r="-166" b="-166"/>
          <a:stretch/>
        </p:blipFill>
        <p:spPr>
          <a:xfrm>
            <a:off x="669507" y="2176021"/>
            <a:ext cx="5236355" cy="472532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36A5C7C-342D-97E2-CA91-797239E6C317}"/>
              </a:ext>
            </a:extLst>
          </p:cNvPr>
          <p:cNvSpPr txBox="1"/>
          <p:nvPr/>
        </p:nvSpPr>
        <p:spPr>
          <a:xfrm>
            <a:off x="750622" y="202029"/>
            <a:ext cx="912428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r>
              <a:rPr lang="en-US" sz="3600" b="1">
                <a:solidFill>
                  <a:srgbClr val="006DBE"/>
                </a:solidFill>
                <a:latin typeface="TT Hoves"/>
              </a:rPr>
              <a:t>Not all "net zero's" are the same</a:t>
            </a:r>
            <a:endParaRPr lang="en-US" sz="3600">
              <a:cs typeface="Calibri"/>
            </a:endParaRPr>
          </a:p>
        </p:txBody>
      </p:sp>
      <p:sp>
        <p:nvSpPr>
          <p:cNvPr id="3" name="Google Shape;295;p50">
            <a:extLst>
              <a:ext uri="{FF2B5EF4-FFF2-40B4-BE49-F238E27FC236}">
                <a16:creationId xmlns:a16="http://schemas.microsoft.com/office/drawing/2014/main" id="{98BE73DD-F261-A57F-0F53-CB330BA80A21}"/>
              </a:ext>
            </a:extLst>
          </p:cNvPr>
          <p:cNvSpPr txBox="1">
            <a:spLocks/>
          </p:cNvSpPr>
          <p:nvPr/>
        </p:nvSpPr>
        <p:spPr>
          <a:xfrm>
            <a:off x="684417" y="974449"/>
            <a:ext cx="11332800" cy="1771557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6900" indent="-4572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b="1"/>
              <a:t>Today – </a:t>
            </a:r>
            <a:r>
              <a:rPr lang="en-GB"/>
              <a:t>Carbon flows out of balance, climate warms</a:t>
            </a:r>
            <a:endParaRPr lang="en-US"/>
          </a:p>
          <a:p>
            <a:pPr marL="596900" indent="-4572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b="1">
                <a:ea typeface="Calibri"/>
                <a:cs typeface="Calibri"/>
              </a:rPr>
              <a:t>Unstable net zero </a:t>
            </a:r>
            <a:r>
              <a:rPr lang="en-GB">
                <a:ea typeface="Calibri"/>
                <a:cs typeface="Calibri"/>
              </a:rPr>
              <a:t>– Emissions balanced temporarily </a:t>
            </a:r>
          </a:p>
        </p:txBody>
      </p:sp>
      <p:pic>
        <p:nvPicPr>
          <p:cNvPr id="11" name="Picture 11" descr="Diagram&#10;&#10;Description automatically generated">
            <a:extLst>
              <a:ext uri="{FF2B5EF4-FFF2-40B4-BE49-F238E27FC236}">
                <a16:creationId xmlns:a16="http://schemas.microsoft.com/office/drawing/2014/main" id="{9BB77509-3B26-8D6E-8D77-D06895F9836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2536" y="2179096"/>
            <a:ext cx="5178096" cy="471326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4A7F1A0-13A9-9987-963B-83D174EEA364}"/>
              </a:ext>
            </a:extLst>
          </p:cNvPr>
          <p:cNvSpPr txBox="1"/>
          <p:nvPr/>
        </p:nvSpPr>
        <p:spPr>
          <a:xfrm>
            <a:off x="10010205" y="6551897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cs typeface="Calibri"/>
              </a:rPr>
              <a:t>WEF, Fankhauser et al. 2022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4077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3" grpId="0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Diagram&#10;&#10;Description automatically generated">
            <a:extLst>
              <a:ext uri="{FF2B5EF4-FFF2-40B4-BE49-F238E27FC236}">
                <a16:creationId xmlns:a16="http://schemas.microsoft.com/office/drawing/2014/main" id="{594A21EE-7F1F-A0C0-005A-7F553AC77B4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9603" r="-166" b="-166"/>
          <a:stretch/>
        </p:blipFill>
        <p:spPr>
          <a:xfrm>
            <a:off x="669507" y="2176021"/>
            <a:ext cx="5236355" cy="4725324"/>
          </a:xfrm>
          <a:prstGeom prst="rect">
            <a:avLst/>
          </a:prstGeom>
        </p:spPr>
      </p:pic>
      <p:pic>
        <p:nvPicPr>
          <p:cNvPr id="5" name="Picture 5" descr="Diagram&#10;&#10;Description automatically generated">
            <a:extLst>
              <a:ext uri="{FF2B5EF4-FFF2-40B4-BE49-F238E27FC236}">
                <a16:creationId xmlns:a16="http://schemas.microsoft.com/office/drawing/2014/main" id="{C765B03C-2950-814A-EBAE-43696E195CF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3371" r="270" b="281"/>
          <a:stretch/>
        </p:blipFill>
        <p:spPr>
          <a:xfrm>
            <a:off x="6221653" y="2185405"/>
            <a:ext cx="5117981" cy="4725344"/>
          </a:xfrm>
          <a:prstGeom prst="rect">
            <a:avLst/>
          </a:prstGeom>
        </p:spPr>
      </p:pic>
      <p:sp>
        <p:nvSpPr>
          <p:cNvPr id="3" name="Google Shape;295;p50">
            <a:extLst>
              <a:ext uri="{FF2B5EF4-FFF2-40B4-BE49-F238E27FC236}">
                <a16:creationId xmlns:a16="http://schemas.microsoft.com/office/drawing/2014/main" id="{98BE73DD-F261-A57F-0F53-CB330BA80A21}"/>
              </a:ext>
            </a:extLst>
          </p:cNvPr>
          <p:cNvSpPr txBox="1">
            <a:spLocks/>
          </p:cNvSpPr>
          <p:nvPr/>
        </p:nvSpPr>
        <p:spPr>
          <a:xfrm>
            <a:off x="671391" y="974449"/>
            <a:ext cx="11332800" cy="3790531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596900" indent="-4572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b="1"/>
              <a:t>Today – </a:t>
            </a:r>
            <a:r>
              <a:rPr lang="en-GB">
                <a:ea typeface="+mn-lt"/>
                <a:cs typeface="+mn-lt"/>
              </a:rPr>
              <a:t>Carbon flows out of balance, climate warms</a:t>
            </a:r>
            <a:endParaRPr lang="en-US"/>
          </a:p>
          <a:p>
            <a:pPr marL="596900" indent="-457200">
              <a:lnSpc>
                <a:spcPct val="114999"/>
              </a:lnSpc>
              <a:spcBef>
                <a:spcPts val="0"/>
              </a:spcBef>
              <a:spcAft>
                <a:spcPts val="600"/>
              </a:spcAft>
              <a:buSzPts val="1400"/>
            </a:pPr>
            <a:r>
              <a:rPr lang="en-GB" b="1">
                <a:ea typeface="+mn-lt"/>
                <a:cs typeface="+mn-lt"/>
              </a:rPr>
              <a:t>Durable net zero </a:t>
            </a:r>
            <a:r>
              <a:rPr lang="en-GB">
                <a:ea typeface="+mn-lt"/>
                <a:cs typeface="+mn-lt"/>
              </a:rPr>
              <a:t>– Flows to and from biosphere &amp; geosphere balanced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1466B97-C95B-C189-665B-7536F662C3C7}"/>
              </a:ext>
            </a:extLst>
          </p:cNvPr>
          <p:cNvSpPr txBox="1"/>
          <p:nvPr/>
        </p:nvSpPr>
        <p:spPr>
          <a:xfrm>
            <a:off x="750622" y="202029"/>
            <a:ext cx="912428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r>
              <a:rPr lang="en-US" sz="3600" b="1">
                <a:solidFill>
                  <a:srgbClr val="006DBE"/>
                </a:solidFill>
                <a:latin typeface="TT Hoves"/>
              </a:rPr>
              <a:t>Not all "net zero's" are the same</a:t>
            </a:r>
            <a:endParaRPr lang="en-US" sz="3600">
              <a:cs typeface="Calibri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85FF5B-B70D-69DD-E703-56D00F392D4A}"/>
              </a:ext>
            </a:extLst>
          </p:cNvPr>
          <p:cNvSpPr txBox="1"/>
          <p:nvPr/>
        </p:nvSpPr>
        <p:spPr>
          <a:xfrm>
            <a:off x="10010205" y="6551897"/>
            <a:ext cx="2743200" cy="30777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400">
                <a:solidFill>
                  <a:schemeClr val="tx1">
                    <a:lumMod val="50000"/>
                    <a:lumOff val="50000"/>
                  </a:schemeClr>
                </a:solidFill>
                <a:cs typeface="Calibri"/>
              </a:rPr>
              <a:t>WEF, Fankhauser et al. 2022</a:t>
            </a:r>
            <a:endParaRPr lang="en-US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9435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AC4E3C1-CCC1-4CA7-875C-C49F6B3B2A00}"/>
              </a:ext>
            </a:extLst>
          </p:cNvPr>
          <p:cNvSpPr/>
          <p:nvPr/>
        </p:nvSpPr>
        <p:spPr>
          <a:xfrm>
            <a:off x="5299788" y="1548882"/>
            <a:ext cx="6892212" cy="3760236"/>
          </a:xfrm>
          <a:prstGeom prst="rect">
            <a:avLst/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39AB2-1BE1-4D3E-BFC5-CBA5161A4F8A}"/>
              </a:ext>
            </a:extLst>
          </p:cNvPr>
          <p:cNvSpPr txBox="1"/>
          <p:nvPr/>
        </p:nvSpPr>
        <p:spPr>
          <a:xfrm>
            <a:off x="6892211" y="1800089"/>
            <a:ext cx="4969109" cy="95410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2800" b="1" dirty="0">
                <a:solidFill>
                  <a:srgbClr val="006DBE"/>
                </a:solidFill>
                <a:latin typeface="TT Hoves" panose="02000803040000020004" pitchFamily="2" charset="0"/>
              </a:rPr>
              <a:t>Manage the biosphere and geosphere separately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E47D4-9C26-43C4-9AF0-97E9AB161BFA}"/>
              </a:ext>
            </a:extLst>
          </p:cNvPr>
          <p:cNvSpPr txBox="1"/>
          <p:nvPr/>
        </p:nvSpPr>
        <p:spPr>
          <a:xfrm>
            <a:off x="6892212" y="3090604"/>
            <a:ext cx="3707364" cy="18937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600" dirty="0">
                <a:solidFill>
                  <a:schemeClr val="bg1"/>
                </a:solidFill>
                <a:latin typeface="Helvetica" pitchFamily="2" charset="0"/>
              </a:rPr>
              <a:t>Carbon from the </a:t>
            </a:r>
            <a:r>
              <a:rPr lang="en-US" sz="1600" dirty="0">
                <a:solidFill>
                  <a:srgbClr val="FF5F4C"/>
                </a:solidFill>
                <a:latin typeface="Helvetica" pitchFamily="2" charset="0"/>
              </a:rPr>
              <a:t>geosphere</a:t>
            </a:r>
            <a:r>
              <a:rPr lang="en-US" sz="1600" dirty="0">
                <a:solidFill>
                  <a:schemeClr val="bg1"/>
                </a:solidFill>
                <a:latin typeface="Helvetica" pitchFamily="2" charset="0"/>
              </a:rPr>
              <a:t> must go back into the </a:t>
            </a:r>
            <a:r>
              <a:rPr lang="en-US" sz="1600" dirty="0">
                <a:solidFill>
                  <a:srgbClr val="FF5F4C"/>
                </a:solidFill>
                <a:latin typeface="Helvetica" pitchFamily="2" charset="0"/>
              </a:rPr>
              <a:t>geosphere</a:t>
            </a:r>
          </a:p>
          <a:p>
            <a:pPr>
              <a:lnSpc>
                <a:spcPct val="150000"/>
              </a:lnSpc>
            </a:pPr>
            <a:endParaRPr lang="en-US" sz="1600" dirty="0">
              <a:solidFill>
                <a:schemeClr val="bg1"/>
              </a:solidFill>
              <a:latin typeface="Helvetica" pitchFamily="2" charset="0"/>
            </a:endParaRPr>
          </a:p>
          <a:p>
            <a:pPr>
              <a:lnSpc>
                <a:spcPct val="150000"/>
              </a:lnSpc>
            </a:pPr>
            <a:r>
              <a:rPr lang="en-US" sz="1600" dirty="0">
                <a:solidFill>
                  <a:schemeClr val="bg1"/>
                </a:solidFill>
                <a:latin typeface="Helvetica" pitchFamily="2" charset="0"/>
              </a:rPr>
              <a:t>Carbon from the </a:t>
            </a:r>
            <a:r>
              <a:rPr lang="en-US" sz="1600" dirty="0">
                <a:solidFill>
                  <a:srgbClr val="006DBE"/>
                </a:solidFill>
                <a:latin typeface="Helvetica" pitchFamily="2" charset="0"/>
              </a:rPr>
              <a:t>biosphere</a:t>
            </a:r>
            <a:r>
              <a:rPr lang="en-US" sz="1600" dirty="0">
                <a:solidFill>
                  <a:schemeClr val="bg1"/>
                </a:solidFill>
                <a:latin typeface="Helvetica" pitchFamily="2" charset="0"/>
              </a:rPr>
              <a:t> must go back into the </a:t>
            </a:r>
            <a:r>
              <a:rPr lang="en-US" sz="1600" dirty="0">
                <a:solidFill>
                  <a:srgbClr val="006DBE"/>
                </a:solidFill>
                <a:latin typeface="Helvetica" pitchFamily="2" charset="0"/>
              </a:rPr>
              <a:t>biosphere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2419D0D-4A1A-4000-947F-D8013685812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444" b="17444"/>
          <a:stretch>
            <a:fillRect/>
          </a:stretch>
        </p:blipFill>
        <p:spPr/>
      </p:pic>
      <p:sp>
        <p:nvSpPr>
          <p:cNvPr id="6" name="Oval 5"/>
          <p:cNvSpPr/>
          <p:nvPr/>
        </p:nvSpPr>
        <p:spPr>
          <a:xfrm>
            <a:off x="5405021" y="3506540"/>
            <a:ext cx="1401072" cy="1401070"/>
          </a:xfrm>
          <a:prstGeom prst="ellipse">
            <a:avLst/>
          </a:prstGeom>
          <a:solidFill>
            <a:srgbClr val="5CC3B3"/>
          </a:solidFill>
          <a:ln>
            <a:solidFill>
              <a:srgbClr val="5CC3B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04BA471-54D7-F401-682A-CE9B4034C1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157616"/>
            <a:ext cx="5977428" cy="4387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2093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Group 38"/>
          <p:cNvGrpSpPr/>
          <p:nvPr/>
        </p:nvGrpSpPr>
        <p:grpSpPr>
          <a:xfrm>
            <a:off x="1009340" y="4651036"/>
            <a:ext cx="2241240" cy="1152944"/>
            <a:chOff x="573715" y="4278109"/>
            <a:chExt cx="1569410" cy="1152944"/>
          </a:xfrm>
        </p:grpSpPr>
        <p:sp>
          <p:nvSpPr>
            <p:cNvPr id="40" name="TextBox 39"/>
            <p:cNvSpPr txBox="1"/>
            <p:nvPr/>
          </p:nvSpPr>
          <p:spPr>
            <a:xfrm>
              <a:off x="573715" y="4278109"/>
              <a:ext cx="1569410" cy="1152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 dirty="0">
                  <a:latin typeface="TT Hoves" panose="02000803040000020004" pitchFamily="2" charset="0"/>
                </a:rPr>
                <a:t>Establish ambitious emission reduction targets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573715" y="4655505"/>
              <a:ext cx="1569410" cy="315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endParaRPr lang="en-US" sz="1100" b="1" dirty="0">
                <a:latin typeface="Helvetica" pitchFamily="2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3660584" y="4651036"/>
            <a:ext cx="2241240" cy="1152944"/>
            <a:chOff x="573715" y="4278109"/>
            <a:chExt cx="1569410" cy="1152944"/>
          </a:xfrm>
        </p:grpSpPr>
        <p:sp>
          <p:nvSpPr>
            <p:cNvPr id="43" name="TextBox 42"/>
            <p:cNvSpPr txBox="1"/>
            <p:nvPr/>
          </p:nvSpPr>
          <p:spPr>
            <a:xfrm>
              <a:off x="573715" y="4278109"/>
              <a:ext cx="1569410" cy="1152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 dirty="0">
                  <a:latin typeface="TT Hoves" panose="02000803040000020004" pitchFamily="2" charset="0"/>
                </a:rPr>
                <a:t>Set up additional &amp; separate target for CDR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73715" y="4655505"/>
              <a:ext cx="1569410" cy="315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endParaRPr lang="en-US" sz="1100" b="1" dirty="0">
                <a:latin typeface="Helvetica" pitchFamily="2" charset="0"/>
              </a:endParaRPr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6311258" y="4647170"/>
            <a:ext cx="2241240" cy="1152944"/>
            <a:chOff x="573715" y="4278109"/>
            <a:chExt cx="1569410" cy="1152944"/>
          </a:xfrm>
        </p:grpSpPr>
        <p:sp>
          <p:nvSpPr>
            <p:cNvPr id="46" name="TextBox 45"/>
            <p:cNvSpPr txBox="1"/>
            <p:nvPr/>
          </p:nvSpPr>
          <p:spPr>
            <a:xfrm>
              <a:off x="573715" y="4278109"/>
              <a:ext cx="1569410" cy="11529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 dirty="0">
                  <a:latin typeface="TT Hoves" panose="02000803040000020004" pitchFamily="2" charset="0"/>
                </a:rPr>
                <a:t>Manage the land and geological sinks separately</a:t>
              </a:r>
            </a:p>
          </p:txBody>
        </p:sp>
        <p:sp>
          <p:nvSpPr>
            <p:cNvPr id="47" name="TextBox 46"/>
            <p:cNvSpPr txBox="1"/>
            <p:nvPr/>
          </p:nvSpPr>
          <p:spPr>
            <a:xfrm>
              <a:off x="573715" y="4655505"/>
              <a:ext cx="1569410" cy="315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endParaRPr lang="en-US" sz="1100" b="1" dirty="0">
                <a:latin typeface="Helvetica" pitchFamily="2" charset="0"/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8960306" y="4652798"/>
            <a:ext cx="2241240" cy="783612"/>
            <a:chOff x="573715" y="4278109"/>
            <a:chExt cx="1569410" cy="783612"/>
          </a:xfrm>
        </p:grpSpPr>
        <p:sp>
          <p:nvSpPr>
            <p:cNvPr id="49" name="TextBox 48"/>
            <p:cNvSpPr txBox="1"/>
            <p:nvPr/>
          </p:nvSpPr>
          <p:spPr>
            <a:xfrm>
              <a:off x="573715" y="4278109"/>
              <a:ext cx="1569410" cy="78361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sz="1600" b="1" dirty="0">
                  <a:latin typeface="TT Hoves" panose="02000803040000020004" pitchFamily="2" charset="0"/>
                </a:rPr>
                <a:t>Regulate and clarify net-zero claims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573715" y="4655505"/>
              <a:ext cx="1569410" cy="31572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ct val="150000"/>
                </a:lnSpc>
              </a:pPr>
              <a:endParaRPr lang="en-US" sz="1100" b="1" dirty="0">
                <a:latin typeface="Helvetica" pitchFamily="2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803482" y="3370998"/>
            <a:ext cx="10606120" cy="2651815"/>
            <a:chOff x="670082" y="2804160"/>
            <a:chExt cx="10851836" cy="2713251"/>
          </a:xfrm>
        </p:grpSpPr>
        <p:sp>
          <p:nvSpPr>
            <p:cNvPr id="2" name="Oval 1"/>
            <p:cNvSpPr/>
            <p:nvPr/>
          </p:nvSpPr>
          <p:spPr>
            <a:xfrm>
              <a:off x="670082" y="2804160"/>
              <a:ext cx="2713250" cy="2713251"/>
            </a:xfrm>
            <a:prstGeom prst="ellipse">
              <a:avLst/>
            </a:prstGeom>
            <a:noFill/>
            <a:ln w="88900">
              <a:solidFill>
                <a:srgbClr val="E1E9E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" name="Oval 2"/>
            <p:cNvSpPr/>
            <p:nvPr/>
          </p:nvSpPr>
          <p:spPr>
            <a:xfrm>
              <a:off x="3383333" y="2804160"/>
              <a:ext cx="2713250" cy="2713251"/>
            </a:xfrm>
            <a:prstGeom prst="ellipse">
              <a:avLst/>
            </a:prstGeom>
            <a:noFill/>
            <a:ln w="88900">
              <a:solidFill>
                <a:srgbClr val="E1E9E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" name="Oval 3"/>
            <p:cNvSpPr/>
            <p:nvPr/>
          </p:nvSpPr>
          <p:spPr>
            <a:xfrm>
              <a:off x="6095416" y="2804160"/>
              <a:ext cx="2713250" cy="2713251"/>
            </a:xfrm>
            <a:prstGeom prst="ellipse">
              <a:avLst/>
            </a:prstGeom>
            <a:noFill/>
            <a:ln w="88900">
              <a:solidFill>
                <a:srgbClr val="E1E9E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" name="Oval 4"/>
            <p:cNvSpPr/>
            <p:nvPr/>
          </p:nvSpPr>
          <p:spPr>
            <a:xfrm>
              <a:off x="8808668" y="2804160"/>
              <a:ext cx="2713250" cy="2713251"/>
            </a:xfrm>
            <a:prstGeom prst="ellipse">
              <a:avLst/>
            </a:prstGeom>
            <a:noFill/>
            <a:ln w="88900">
              <a:solidFill>
                <a:srgbClr val="E1E9EA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Arc 5"/>
            <p:cNvSpPr/>
            <p:nvPr/>
          </p:nvSpPr>
          <p:spPr>
            <a:xfrm>
              <a:off x="671497" y="2805576"/>
              <a:ext cx="2710420" cy="2710419"/>
            </a:xfrm>
            <a:prstGeom prst="arc">
              <a:avLst>
                <a:gd name="adj1" fmla="val 10766207"/>
                <a:gd name="adj2" fmla="val 0"/>
              </a:avLst>
            </a:prstGeom>
            <a:ln w="88900" cap="rnd">
              <a:solidFill>
                <a:srgbClr val="FF5F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Arc 6"/>
            <p:cNvSpPr/>
            <p:nvPr/>
          </p:nvSpPr>
          <p:spPr>
            <a:xfrm rot="10800000">
              <a:off x="3384749" y="2805576"/>
              <a:ext cx="2710420" cy="2710419"/>
            </a:xfrm>
            <a:prstGeom prst="arc">
              <a:avLst>
                <a:gd name="adj1" fmla="val 10766207"/>
                <a:gd name="adj2" fmla="val 0"/>
              </a:avLst>
            </a:prstGeom>
            <a:ln w="88900" cap="rnd">
              <a:solidFill>
                <a:srgbClr val="FF5F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Arc 7"/>
            <p:cNvSpPr/>
            <p:nvPr/>
          </p:nvSpPr>
          <p:spPr>
            <a:xfrm>
              <a:off x="6096831" y="2805576"/>
              <a:ext cx="2710420" cy="2710419"/>
            </a:xfrm>
            <a:prstGeom prst="arc">
              <a:avLst>
                <a:gd name="adj1" fmla="val 10766207"/>
                <a:gd name="adj2" fmla="val 0"/>
              </a:avLst>
            </a:prstGeom>
            <a:ln w="88900" cap="rnd">
              <a:solidFill>
                <a:srgbClr val="006DB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Arc 8"/>
            <p:cNvSpPr/>
            <p:nvPr/>
          </p:nvSpPr>
          <p:spPr>
            <a:xfrm rot="10800000">
              <a:off x="8810083" y="2805576"/>
              <a:ext cx="2710420" cy="2710419"/>
            </a:xfrm>
            <a:prstGeom prst="arc">
              <a:avLst>
                <a:gd name="adj1" fmla="val 10766207"/>
                <a:gd name="adj2" fmla="val 0"/>
              </a:avLst>
            </a:prstGeom>
            <a:ln w="88900" cap="rnd">
              <a:solidFill>
                <a:srgbClr val="FF5F4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Oval 9"/>
            <p:cNvSpPr/>
            <p:nvPr/>
          </p:nvSpPr>
          <p:spPr>
            <a:xfrm>
              <a:off x="1569507" y="3110638"/>
              <a:ext cx="914400" cy="914400"/>
            </a:xfrm>
            <a:prstGeom prst="ellipse">
              <a:avLst/>
            </a:prstGeom>
            <a:solidFill>
              <a:srgbClr val="006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0" rtlCol="0" anchor="ctr"/>
            <a:lstStyle/>
            <a:p>
              <a:pPr algn="ctr"/>
              <a:endParaRPr lang="id-ID" sz="3200" dirty="0">
                <a:solidFill>
                  <a:srgbClr val="FFFFFF"/>
                </a:solidFill>
                <a:latin typeface="Questrial" panose="02000000000000000000" pitchFamily="50" charset="0"/>
              </a:endParaRPr>
            </a:p>
          </p:txBody>
        </p:sp>
        <p:sp>
          <p:nvSpPr>
            <p:cNvPr id="11" name="Oval 10"/>
            <p:cNvSpPr/>
            <p:nvPr/>
          </p:nvSpPr>
          <p:spPr>
            <a:xfrm>
              <a:off x="4282758" y="3110638"/>
              <a:ext cx="914400" cy="914400"/>
            </a:xfrm>
            <a:prstGeom prst="ellipse">
              <a:avLst/>
            </a:prstGeom>
            <a:solidFill>
              <a:srgbClr val="5CC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0" rtlCol="0" anchor="ctr"/>
            <a:lstStyle/>
            <a:p>
              <a:pPr algn="ctr"/>
              <a:endParaRPr lang="id-ID" sz="3200" dirty="0">
                <a:solidFill>
                  <a:srgbClr val="FFFFFF"/>
                </a:solidFill>
                <a:latin typeface="Questrial" panose="02000000000000000000" pitchFamily="50" charset="0"/>
              </a:endParaRPr>
            </a:p>
          </p:txBody>
        </p:sp>
        <p:sp>
          <p:nvSpPr>
            <p:cNvPr id="12" name="Oval 11"/>
            <p:cNvSpPr/>
            <p:nvPr/>
          </p:nvSpPr>
          <p:spPr>
            <a:xfrm>
              <a:off x="6994841" y="3110638"/>
              <a:ext cx="914400" cy="914400"/>
            </a:xfrm>
            <a:prstGeom prst="ellipse">
              <a:avLst/>
            </a:prstGeom>
            <a:solidFill>
              <a:srgbClr val="006DB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164592" rIns="0" bIns="0" rtlCol="0" anchor="ctr"/>
            <a:lstStyle/>
            <a:p>
              <a:pPr algn="ctr"/>
              <a:endParaRPr lang="id-ID" sz="3200" dirty="0">
                <a:solidFill>
                  <a:srgbClr val="FFFFFF"/>
                </a:solidFill>
                <a:latin typeface="Questrial" panose="02000000000000000000" pitchFamily="50" charset="0"/>
              </a:endParaRPr>
            </a:p>
          </p:txBody>
        </p:sp>
        <p:sp>
          <p:nvSpPr>
            <p:cNvPr id="13" name="Oval 12"/>
            <p:cNvSpPr/>
            <p:nvPr/>
          </p:nvSpPr>
          <p:spPr>
            <a:xfrm>
              <a:off x="9708093" y="3110638"/>
              <a:ext cx="914400" cy="914400"/>
            </a:xfrm>
            <a:prstGeom prst="ellipse">
              <a:avLst/>
            </a:prstGeom>
            <a:solidFill>
              <a:srgbClr val="5CC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91440" rIns="0" bIns="0" rtlCol="0" anchor="ctr"/>
            <a:lstStyle/>
            <a:p>
              <a:pPr algn="ctr"/>
              <a:endParaRPr lang="id-ID" sz="3200" dirty="0">
                <a:solidFill>
                  <a:srgbClr val="FFFFFF"/>
                </a:solidFill>
                <a:latin typeface="Questrial" panose="02000000000000000000" pitchFamily="50" charset="0"/>
              </a:endParaRPr>
            </a:p>
          </p:txBody>
        </p:sp>
      </p:grpSp>
      <p:pic>
        <p:nvPicPr>
          <p:cNvPr id="68" name="Picture 6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0611" y="3744459"/>
            <a:ext cx="738699" cy="738699"/>
          </a:xfrm>
          <a:prstGeom prst="rect">
            <a:avLst/>
          </a:prstGeom>
        </p:spPr>
      </p:pic>
      <p:sp>
        <p:nvSpPr>
          <p:cNvPr id="69" name="Freeform 331"/>
          <p:cNvSpPr>
            <a:spLocks noEditPoints="1"/>
          </p:cNvSpPr>
          <p:nvPr/>
        </p:nvSpPr>
        <p:spPr bwMode="auto">
          <a:xfrm>
            <a:off x="7257973" y="3872509"/>
            <a:ext cx="346075" cy="482600"/>
          </a:xfrm>
          <a:custGeom>
            <a:avLst/>
            <a:gdLst>
              <a:gd name="T0" fmla="*/ 68 w 92"/>
              <a:gd name="T1" fmla="*/ 36 h 128"/>
              <a:gd name="T2" fmla="*/ 60 w 92"/>
              <a:gd name="T3" fmla="*/ 56 h 128"/>
              <a:gd name="T4" fmla="*/ 44 w 92"/>
              <a:gd name="T5" fmla="*/ 20 h 128"/>
              <a:gd name="T6" fmla="*/ 36 w 92"/>
              <a:gd name="T7" fmla="*/ 44 h 128"/>
              <a:gd name="T8" fmla="*/ 4 w 92"/>
              <a:gd name="T9" fmla="*/ 0 h 128"/>
              <a:gd name="T10" fmla="*/ 0 w 92"/>
              <a:gd name="T11" fmla="*/ 92 h 128"/>
              <a:gd name="T12" fmla="*/ 40 w 92"/>
              <a:gd name="T13" fmla="*/ 128 h 128"/>
              <a:gd name="T14" fmla="*/ 86 w 92"/>
              <a:gd name="T15" fmla="*/ 100 h 128"/>
              <a:gd name="T16" fmla="*/ 68 w 92"/>
              <a:gd name="T17" fmla="*/ 36 h 128"/>
              <a:gd name="T18" fmla="*/ 79 w 92"/>
              <a:gd name="T19" fmla="*/ 98 h 128"/>
              <a:gd name="T20" fmla="*/ 40 w 92"/>
              <a:gd name="T21" fmla="*/ 120 h 128"/>
              <a:gd name="T22" fmla="*/ 8 w 92"/>
              <a:gd name="T23" fmla="*/ 92 h 128"/>
              <a:gd name="T24" fmla="*/ 12 w 92"/>
              <a:gd name="T25" fmla="*/ 63 h 128"/>
              <a:gd name="T26" fmla="*/ 16 w 92"/>
              <a:gd name="T27" fmla="*/ 23 h 128"/>
              <a:gd name="T28" fmla="*/ 33 w 92"/>
              <a:gd name="T29" fmla="*/ 63 h 128"/>
              <a:gd name="T30" fmla="*/ 47 w 92"/>
              <a:gd name="T31" fmla="*/ 39 h 128"/>
              <a:gd name="T32" fmla="*/ 52 w 92"/>
              <a:gd name="T33" fmla="*/ 76 h 128"/>
              <a:gd name="T34" fmla="*/ 71 w 92"/>
              <a:gd name="T35" fmla="*/ 54 h 128"/>
              <a:gd name="T36" fmla="*/ 79 w 92"/>
              <a:gd name="T37" fmla="*/ 98 h 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92" h="128">
                <a:moveTo>
                  <a:pt x="68" y="36"/>
                </a:moveTo>
                <a:cubicBezTo>
                  <a:pt x="68" y="47"/>
                  <a:pt x="60" y="56"/>
                  <a:pt x="60" y="56"/>
                </a:cubicBezTo>
                <a:cubicBezTo>
                  <a:pt x="60" y="36"/>
                  <a:pt x="44" y="20"/>
                  <a:pt x="44" y="20"/>
                </a:cubicBezTo>
                <a:cubicBezTo>
                  <a:pt x="44" y="20"/>
                  <a:pt x="44" y="32"/>
                  <a:pt x="36" y="44"/>
                </a:cubicBezTo>
                <a:cubicBezTo>
                  <a:pt x="28" y="16"/>
                  <a:pt x="4" y="0"/>
                  <a:pt x="4" y="0"/>
                </a:cubicBezTo>
                <a:cubicBezTo>
                  <a:pt x="16" y="44"/>
                  <a:pt x="0" y="60"/>
                  <a:pt x="0" y="92"/>
                </a:cubicBezTo>
                <a:cubicBezTo>
                  <a:pt x="0" y="110"/>
                  <a:pt x="16" y="128"/>
                  <a:pt x="40" y="128"/>
                </a:cubicBezTo>
                <a:cubicBezTo>
                  <a:pt x="76" y="128"/>
                  <a:pt x="83" y="115"/>
                  <a:pt x="86" y="100"/>
                </a:cubicBezTo>
                <a:cubicBezTo>
                  <a:pt x="92" y="80"/>
                  <a:pt x="84" y="56"/>
                  <a:pt x="68" y="36"/>
                </a:cubicBezTo>
                <a:close/>
                <a:moveTo>
                  <a:pt x="79" y="98"/>
                </a:moveTo>
                <a:cubicBezTo>
                  <a:pt x="76" y="108"/>
                  <a:pt x="73" y="120"/>
                  <a:pt x="40" y="120"/>
                </a:cubicBezTo>
                <a:cubicBezTo>
                  <a:pt x="20" y="120"/>
                  <a:pt x="8" y="106"/>
                  <a:pt x="8" y="92"/>
                </a:cubicBezTo>
                <a:cubicBezTo>
                  <a:pt x="8" y="81"/>
                  <a:pt x="10" y="72"/>
                  <a:pt x="12" y="63"/>
                </a:cubicBezTo>
                <a:cubicBezTo>
                  <a:pt x="15" y="51"/>
                  <a:pt x="17" y="39"/>
                  <a:pt x="16" y="23"/>
                </a:cubicBezTo>
                <a:cubicBezTo>
                  <a:pt x="29" y="40"/>
                  <a:pt x="33" y="63"/>
                  <a:pt x="33" y="63"/>
                </a:cubicBezTo>
                <a:cubicBezTo>
                  <a:pt x="33" y="63"/>
                  <a:pt x="44" y="47"/>
                  <a:pt x="47" y="39"/>
                </a:cubicBezTo>
                <a:cubicBezTo>
                  <a:pt x="50" y="44"/>
                  <a:pt x="52" y="60"/>
                  <a:pt x="52" y="76"/>
                </a:cubicBezTo>
                <a:cubicBezTo>
                  <a:pt x="52" y="76"/>
                  <a:pt x="63" y="67"/>
                  <a:pt x="71" y="54"/>
                </a:cubicBezTo>
                <a:cubicBezTo>
                  <a:pt x="79" y="69"/>
                  <a:pt x="82" y="85"/>
                  <a:pt x="79" y="98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54" name="Round Same Side Corner Rectangle 53"/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TextBox 56"/>
          <p:cNvSpPr txBox="1"/>
          <p:nvPr/>
        </p:nvSpPr>
        <p:spPr>
          <a:xfrm>
            <a:off x="1653228" y="1391544"/>
            <a:ext cx="8905002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b="1" dirty="0">
                <a:solidFill>
                  <a:srgbClr val="FF5F4C"/>
                </a:solidFill>
                <a:latin typeface="TT Hoves" panose="02000803040000020004" pitchFamily="2" charset="0"/>
              </a:rPr>
              <a:t>How should we regulate Carbon Dioxide Removal?</a:t>
            </a:r>
          </a:p>
        </p:txBody>
      </p:sp>
      <p:sp>
        <p:nvSpPr>
          <p:cNvPr id="15" name="Shape 2569">
            <a:extLst>
              <a:ext uri="{FF2B5EF4-FFF2-40B4-BE49-F238E27FC236}">
                <a16:creationId xmlns:a16="http://schemas.microsoft.com/office/drawing/2014/main" id="{CDE69C9E-02BD-40F1-9161-0881BC80A8B7}"/>
              </a:ext>
            </a:extLst>
          </p:cNvPr>
          <p:cNvSpPr/>
          <p:nvPr/>
        </p:nvSpPr>
        <p:spPr>
          <a:xfrm>
            <a:off x="4557849" y="3912296"/>
            <a:ext cx="442801" cy="4428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/>
          </a:p>
        </p:txBody>
      </p:sp>
      <p:sp>
        <p:nvSpPr>
          <p:cNvPr id="16" name="Shape 2569">
            <a:extLst>
              <a:ext uri="{FF2B5EF4-FFF2-40B4-BE49-F238E27FC236}">
                <a16:creationId xmlns:a16="http://schemas.microsoft.com/office/drawing/2014/main" id="{73890AD9-9D55-7CA4-789E-647D375FBC5E}"/>
              </a:ext>
            </a:extLst>
          </p:cNvPr>
          <p:cNvSpPr/>
          <p:nvPr/>
        </p:nvSpPr>
        <p:spPr>
          <a:xfrm>
            <a:off x="9868605" y="3911136"/>
            <a:ext cx="442801" cy="4428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8836"/>
                </a:moveTo>
                <a:lnTo>
                  <a:pt x="982" y="8836"/>
                </a:lnTo>
                <a:lnTo>
                  <a:pt x="982" y="6873"/>
                </a:lnTo>
                <a:lnTo>
                  <a:pt x="20618" y="6873"/>
                </a:lnTo>
                <a:cubicBezTo>
                  <a:pt x="20618" y="6873"/>
                  <a:pt x="20618" y="8836"/>
                  <a:pt x="20618" y="8836"/>
                </a:cubicBezTo>
                <a:close/>
                <a:moveTo>
                  <a:pt x="18655" y="20618"/>
                </a:moveTo>
                <a:lnTo>
                  <a:pt x="2945" y="20618"/>
                </a:lnTo>
                <a:lnTo>
                  <a:pt x="2945" y="9818"/>
                </a:lnTo>
                <a:lnTo>
                  <a:pt x="18655" y="9818"/>
                </a:lnTo>
                <a:cubicBezTo>
                  <a:pt x="18655" y="9818"/>
                  <a:pt x="18655" y="20618"/>
                  <a:pt x="18655" y="20618"/>
                </a:cubicBezTo>
                <a:close/>
                <a:moveTo>
                  <a:pt x="3927" y="982"/>
                </a:moveTo>
                <a:lnTo>
                  <a:pt x="11782" y="982"/>
                </a:lnTo>
                <a:lnTo>
                  <a:pt x="11782" y="3436"/>
                </a:lnTo>
                <a:cubicBezTo>
                  <a:pt x="11782" y="3708"/>
                  <a:pt x="12002" y="3927"/>
                  <a:pt x="12273" y="3927"/>
                </a:cubicBezTo>
                <a:lnTo>
                  <a:pt x="14727" y="3927"/>
                </a:lnTo>
                <a:lnTo>
                  <a:pt x="14727" y="5891"/>
                </a:lnTo>
                <a:lnTo>
                  <a:pt x="3927" y="5891"/>
                </a:lnTo>
                <a:cubicBezTo>
                  <a:pt x="3927" y="5891"/>
                  <a:pt x="3927" y="982"/>
                  <a:pt x="3927" y="982"/>
                </a:cubicBezTo>
                <a:close/>
                <a:moveTo>
                  <a:pt x="12764" y="1473"/>
                </a:moveTo>
                <a:lnTo>
                  <a:pt x="14236" y="2945"/>
                </a:lnTo>
                <a:lnTo>
                  <a:pt x="12764" y="2945"/>
                </a:lnTo>
                <a:cubicBezTo>
                  <a:pt x="12764" y="2945"/>
                  <a:pt x="12764" y="1473"/>
                  <a:pt x="12764" y="1473"/>
                </a:cubicBezTo>
                <a:close/>
                <a:moveTo>
                  <a:pt x="17673" y="1964"/>
                </a:moveTo>
                <a:lnTo>
                  <a:pt x="17673" y="5891"/>
                </a:lnTo>
                <a:lnTo>
                  <a:pt x="15709" y="5891"/>
                </a:lnTo>
                <a:lnTo>
                  <a:pt x="15709" y="2945"/>
                </a:lnTo>
                <a:lnTo>
                  <a:pt x="14727" y="1964"/>
                </a:lnTo>
                <a:cubicBezTo>
                  <a:pt x="14727" y="1964"/>
                  <a:pt x="17673" y="1964"/>
                  <a:pt x="17673" y="1964"/>
                </a:cubicBezTo>
                <a:close/>
                <a:moveTo>
                  <a:pt x="20618" y="5891"/>
                </a:moveTo>
                <a:lnTo>
                  <a:pt x="18655" y="5891"/>
                </a:lnTo>
                <a:lnTo>
                  <a:pt x="18655" y="1964"/>
                </a:lnTo>
                <a:cubicBezTo>
                  <a:pt x="18655" y="1422"/>
                  <a:pt x="18215" y="982"/>
                  <a:pt x="17673" y="982"/>
                </a:cubicBezTo>
                <a:lnTo>
                  <a:pt x="13745" y="982"/>
                </a:lnTo>
                <a:lnTo>
                  <a:pt x="12764" y="0"/>
                </a:lnTo>
                <a:lnTo>
                  <a:pt x="3927" y="0"/>
                </a:lnTo>
                <a:cubicBezTo>
                  <a:pt x="3385" y="0"/>
                  <a:pt x="2945" y="440"/>
                  <a:pt x="2945" y="982"/>
                </a:cubicBezTo>
                <a:lnTo>
                  <a:pt x="2945" y="5891"/>
                </a:lnTo>
                <a:lnTo>
                  <a:pt x="982" y="5891"/>
                </a:lnTo>
                <a:cubicBezTo>
                  <a:pt x="440" y="5891"/>
                  <a:pt x="0" y="6331"/>
                  <a:pt x="0" y="6873"/>
                </a:cubicBezTo>
                <a:lnTo>
                  <a:pt x="0" y="8836"/>
                </a:lnTo>
                <a:cubicBezTo>
                  <a:pt x="0" y="9379"/>
                  <a:pt x="440" y="9818"/>
                  <a:pt x="982" y="9818"/>
                </a:cubicBezTo>
                <a:lnTo>
                  <a:pt x="1964" y="9818"/>
                </a:lnTo>
                <a:lnTo>
                  <a:pt x="1964" y="20618"/>
                </a:lnTo>
                <a:cubicBezTo>
                  <a:pt x="1964" y="21160"/>
                  <a:pt x="2403" y="21600"/>
                  <a:pt x="2945" y="21600"/>
                </a:cubicBezTo>
                <a:lnTo>
                  <a:pt x="18655" y="21600"/>
                </a:lnTo>
                <a:cubicBezTo>
                  <a:pt x="19197" y="21600"/>
                  <a:pt x="19636" y="21160"/>
                  <a:pt x="19636" y="20618"/>
                </a:cubicBezTo>
                <a:lnTo>
                  <a:pt x="19636" y="9818"/>
                </a:lnTo>
                <a:lnTo>
                  <a:pt x="20618" y="9818"/>
                </a:lnTo>
                <a:cubicBezTo>
                  <a:pt x="21160" y="9818"/>
                  <a:pt x="21600" y="9379"/>
                  <a:pt x="21600" y="8836"/>
                </a:cubicBezTo>
                <a:lnTo>
                  <a:pt x="21600" y="6873"/>
                </a:lnTo>
                <a:cubicBezTo>
                  <a:pt x="21600" y="6331"/>
                  <a:pt x="21160" y="5891"/>
                  <a:pt x="20618" y="5891"/>
                </a:cubicBezTo>
                <a:moveTo>
                  <a:pt x="7855" y="12763"/>
                </a:moveTo>
                <a:lnTo>
                  <a:pt x="13745" y="12763"/>
                </a:lnTo>
                <a:lnTo>
                  <a:pt x="13745" y="13745"/>
                </a:lnTo>
                <a:lnTo>
                  <a:pt x="7855" y="13745"/>
                </a:lnTo>
                <a:cubicBezTo>
                  <a:pt x="7855" y="13745"/>
                  <a:pt x="7855" y="12763"/>
                  <a:pt x="7855" y="12763"/>
                </a:cubicBezTo>
                <a:close/>
                <a:moveTo>
                  <a:pt x="7855" y="14727"/>
                </a:moveTo>
                <a:lnTo>
                  <a:pt x="13745" y="14727"/>
                </a:lnTo>
                <a:cubicBezTo>
                  <a:pt x="14287" y="14727"/>
                  <a:pt x="14727" y="14287"/>
                  <a:pt x="14727" y="13745"/>
                </a:cubicBezTo>
                <a:lnTo>
                  <a:pt x="14727" y="12763"/>
                </a:lnTo>
                <a:cubicBezTo>
                  <a:pt x="14727" y="12221"/>
                  <a:pt x="14287" y="11782"/>
                  <a:pt x="13745" y="11782"/>
                </a:cubicBezTo>
                <a:lnTo>
                  <a:pt x="7855" y="11782"/>
                </a:lnTo>
                <a:cubicBezTo>
                  <a:pt x="7313" y="11782"/>
                  <a:pt x="6873" y="12221"/>
                  <a:pt x="6873" y="12763"/>
                </a:cubicBezTo>
                <a:lnTo>
                  <a:pt x="6873" y="13745"/>
                </a:lnTo>
                <a:cubicBezTo>
                  <a:pt x="6873" y="14287"/>
                  <a:pt x="7313" y="14727"/>
                  <a:pt x="7855" y="14727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 dirty="0"/>
          </a:p>
        </p:txBody>
      </p:sp>
    </p:spTree>
    <p:extLst>
      <p:ext uri="{BB962C8B-B14F-4D97-AF65-F5344CB8AC3E}">
        <p14:creationId xmlns:p14="http://schemas.microsoft.com/office/powerpoint/2010/main" val="7795338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random/>
      </p:transition>
    </mc:Choice>
    <mc:Fallback xmlns="">
      <p:transition spd="slow">
        <p:random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590BAFF9-C14D-4E16-AD1F-2E968EAC43B1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186" b="24186"/>
          <a:stretch>
            <a:fillRect/>
          </a:stretch>
        </p:blipFill>
        <p:spPr/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D856E102-5BD6-4CBA-B116-2A3FC5A82171}"/>
              </a:ext>
            </a:extLst>
          </p:cNvPr>
          <p:cNvSpPr/>
          <p:nvPr/>
        </p:nvSpPr>
        <p:spPr>
          <a:xfrm>
            <a:off x="0" y="-39471"/>
            <a:ext cx="12192000" cy="6858000"/>
          </a:xfrm>
          <a:prstGeom prst="rect">
            <a:avLst/>
          </a:prstGeom>
          <a:solidFill>
            <a:srgbClr val="5CC3B3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5CC3B3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3AA66A7-E8D4-4D19-A21F-FE44C8C8ADFC}"/>
              </a:ext>
            </a:extLst>
          </p:cNvPr>
          <p:cNvSpPr txBox="1"/>
          <p:nvPr/>
        </p:nvSpPr>
        <p:spPr>
          <a:xfrm>
            <a:off x="132217" y="965884"/>
            <a:ext cx="11812296" cy="4524315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7200" b="1">
                <a:solidFill>
                  <a:schemeClr val="bg1"/>
                </a:solidFill>
                <a:latin typeface="TT Hoves"/>
                <a:ea typeface="Open Sans"/>
                <a:cs typeface="Open Sans"/>
              </a:rPr>
              <a:t>Carbon Dioxide Removal: </a:t>
            </a:r>
            <a:endParaRPr lang="en-US" sz="7200" b="1">
              <a:solidFill>
                <a:schemeClr val="bg1"/>
              </a:solidFill>
              <a:latin typeface="TT Hoves" panose="02000803040000020004" pitchFamily="2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algn="ctr"/>
            <a:r>
              <a:rPr lang="en-US" sz="7200" b="1">
                <a:solidFill>
                  <a:srgbClr val="FF5F4C"/>
                </a:solidFill>
                <a:latin typeface="TT Hoves"/>
                <a:ea typeface="Open Sans"/>
                <a:cs typeface="Open Sans"/>
              </a:rPr>
              <a:t>What</a:t>
            </a:r>
          </a:p>
          <a:p>
            <a:pPr algn="ctr"/>
            <a:r>
              <a:rPr lang="en-US" sz="7200" b="1">
                <a:solidFill>
                  <a:srgbClr val="006DBE"/>
                </a:solidFill>
                <a:latin typeface="TT Hoves"/>
                <a:ea typeface="Open Sans"/>
                <a:cs typeface="Calibri"/>
              </a:rPr>
              <a:t> </a:t>
            </a:r>
            <a:r>
              <a:rPr lang="en-US" sz="7200" b="1">
                <a:solidFill>
                  <a:schemeClr val="bg1">
                    <a:lumMod val="75000"/>
                  </a:schemeClr>
                </a:solidFill>
                <a:latin typeface="TT Hoves"/>
                <a:ea typeface="Open Sans"/>
                <a:cs typeface="Calibri"/>
              </a:rPr>
              <a:t>Why </a:t>
            </a:r>
          </a:p>
          <a:p>
            <a:pPr algn="ctr"/>
            <a:r>
              <a:rPr lang="en-US" sz="7200" b="1">
                <a:solidFill>
                  <a:schemeClr val="bg1">
                    <a:lumMod val="75000"/>
                  </a:schemeClr>
                </a:solidFill>
                <a:latin typeface="TT Hoves"/>
                <a:ea typeface="Open Sans"/>
                <a:cs typeface="Calibri"/>
              </a:rPr>
              <a:t>How</a:t>
            </a:r>
            <a:endParaRPr lang="en-US" sz="7200" b="1">
              <a:solidFill>
                <a:schemeClr val="bg1">
                  <a:lumMod val="75000"/>
                </a:schemeClr>
              </a:solidFill>
              <a:latin typeface="TT Hoves"/>
              <a:ea typeface="Open Sans" panose="020B0606030504020204" pitchFamily="34" charset="0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238961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AC4E3C1-CCC1-4CA7-875C-C49F6B3B2A00}"/>
              </a:ext>
            </a:extLst>
          </p:cNvPr>
          <p:cNvSpPr/>
          <p:nvPr/>
        </p:nvSpPr>
        <p:spPr>
          <a:xfrm>
            <a:off x="5995950" y="1548882"/>
            <a:ext cx="6196049" cy="3760236"/>
          </a:xfrm>
          <a:prstGeom prst="rect">
            <a:avLst/>
          </a:prstGeom>
          <a:solidFill>
            <a:srgbClr val="5CC3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D39AB2-1BE1-4D3E-BFC5-CBA5161A4F8A}"/>
              </a:ext>
            </a:extLst>
          </p:cNvPr>
          <p:cNvSpPr txBox="1"/>
          <p:nvPr/>
        </p:nvSpPr>
        <p:spPr>
          <a:xfrm>
            <a:off x="6393078" y="1647080"/>
            <a:ext cx="5278135" cy="1077218"/>
          </a:xfrm>
          <a:prstGeom prst="rect">
            <a:avLst/>
          </a:prstGeom>
          <a:noFill/>
        </p:spPr>
        <p:txBody>
          <a:bodyPr wrap="square" lIns="91440" tIns="45720" rIns="91440" bIns="45720" rtlCol="0" anchor="ctr">
            <a:spAutoFit/>
          </a:bodyPr>
          <a:lstStyle/>
          <a:p>
            <a:pPr algn="ctr"/>
            <a:r>
              <a:rPr lang="en-US" sz="3200" b="1">
                <a:solidFill>
                  <a:srgbClr val="006DBE"/>
                </a:solidFill>
                <a:latin typeface="TT Hoves"/>
              </a:rPr>
              <a:t>Let’s build a healthy middle ground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2EE47D4-9C26-43C4-9AF0-97E9AB161BFA}"/>
              </a:ext>
            </a:extLst>
          </p:cNvPr>
          <p:cNvSpPr txBox="1"/>
          <p:nvPr/>
        </p:nvSpPr>
        <p:spPr>
          <a:xfrm>
            <a:off x="6267242" y="2791453"/>
            <a:ext cx="5921143" cy="253402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Helvetica"/>
                <a:cs typeface="Helvetica"/>
              </a:rPr>
              <a:t>We agree emission cuts are the priority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Helvetica"/>
                <a:cs typeface="Helvetica"/>
              </a:rPr>
              <a:t>We agree we need some CDR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>
                <a:solidFill>
                  <a:schemeClr val="bg1"/>
                </a:solidFill>
                <a:latin typeface="Helvetica"/>
                <a:cs typeface="Helvetica"/>
              </a:rPr>
              <a:t>We agree both must happen in parallel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  <a:latin typeface="Helvetica" pitchFamily="2" charset="0"/>
              <a:cs typeface="Helvetica"/>
            </a:endParaRPr>
          </a:p>
          <a:p>
            <a:pPr>
              <a:lnSpc>
                <a:spcPct val="150000"/>
              </a:lnSpc>
            </a:pPr>
            <a:r>
              <a:rPr lang="en-US">
                <a:solidFill>
                  <a:schemeClr val="bg1"/>
                </a:solidFill>
                <a:latin typeface="Helvetica"/>
                <a:cs typeface="Helvetica"/>
              </a:rPr>
              <a:t>Let’s build a policy framework which benefits the climate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endParaRPr lang="en-US">
              <a:solidFill>
                <a:schemeClr val="bg1"/>
              </a:solidFill>
              <a:latin typeface="Helvetica" pitchFamily="2" charset="0"/>
              <a:cs typeface="Helvetica"/>
            </a:endParaRP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D590FF5B-78DF-27C9-EBE3-8A753662DCE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94378002"/>
              </p:ext>
            </p:extLst>
          </p:nvPr>
        </p:nvGraphicFramePr>
        <p:xfrm>
          <a:off x="-1406801" y="79630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A2659F38-F91E-3B84-0940-FEF0361FAE59}"/>
              </a:ext>
            </a:extLst>
          </p:cNvPr>
          <p:cNvSpPr txBox="1"/>
          <p:nvPr/>
        </p:nvSpPr>
        <p:spPr>
          <a:xfrm>
            <a:off x="650240" y="3507440"/>
            <a:ext cx="6800426" cy="17034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6DBE"/>
                </a:solidFill>
                <a:latin typeface="Helvetica"/>
                <a:cs typeface="Helvetica"/>
              </a:rPr>
              <a:t>Separate targets for reductions &amp; removals</a:t>
            </a:r>
            <a:endParaRPr lang="en-US" sz="2000" dirty="0">
              <a:solidFill>
                <a:srgbClr val="006DBE"/>
              </a:solidFill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6DBE"/>
                </a:solidFill>
                <a:latin typeface="Helvetica"/>
                <a:cs typeface="Helvetica"/>
              </a:rPr>
              <a:t>Defining what is "hard-to-decarbonize"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6DBE"/>
                </a:solidFill>
                <a:latin typeface="Helvetica"/>
                <a:cs typeface="Helvetica"/>
              </a:rPr>
              <a:t>Proactively tackling mitigation deterrence</a:t>
            </a:r>
            <a:endParaRPr lang="en-US" sz="1800" dirty="0">
              <a:solidFill>
                <a:srgbClr val="006DBE"/>
              </a:solidFill>
              <a:latin typeface="Helvetica" pitchFamily="2" charset="0"/>
              <a:cs typeface="Helvetica"/>
            </a:endParaRP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1800" dirty="0">
                <a:solidFill>
                  <a:srgbClr val="006DBE"/>
                </a:solidFill>
                <a:latin typeface="Helvetica"/>
                <a:cs typeface="Helvetica"/>
              </a:rPr>
              <a:t>Restoring ecosystems for their own sake</a:t>
            </a:r>
          </a:p>
        </p:txBody>
      </p:sp>
    </p:spTree>
    <p:extLst>
      <p:ext uri="{BB962C8B-B14F-4D97-AF65-F5344CB8AC3E}">
        <p14:creationId xmlns:p14="http://schemas.microsoft.com/office/powerpoint/2010/main" val="24835321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C5852D32-2FCF-9107-677A-4E81206FD9FE}"/>
              </a:ext>
            </a:extLst>
          </p:cNvPr>
          <p:cNvSpPr>
            <a:spLocks/>
          </p:cNvSpPr>
          <p:nvPr/>
        </p:nvSpPr>
        <p:spPr>
          <a:xfrm>
            <a:off x="8162" y="3424"/>
            <a:ext cx="12187116" cy="3674627"/>
          </a:xfrm>
          <a:prstGeom prst="rect">
            <a:avLst/>
          </a:prstGeom>
          <a:solidFill>
            <a:srgbClr val="5CC3B3"/>
          </a:solidFill>
          <a:ln>
            <a:solidFill>
              <a:srgbClr val="008AF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5" name="Object 14" hidden="1">
            <a:extLst>
              <a:ext uri="{FF2B5EF4-FFF2-40B4-BE49-F238E27FC236}">
                <a16:creationId xmlns:a16="http://schemas.microsoft.com/office/drawing/2014/main" id="{734E3BB2-7FA6-819D-3BE0-780E7DFD44C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576968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5" name="Object 14" hidden="1">
                        <a:extLst>
                          <a:ext uri="{FF2B5EF4-FFF2-40B4-BE49-F238E27FC236}">
                            <a16:creationId xmlns:a16="http://schemas.microsoft.com/office/drawing/2014/main" id="{734E3BB2-7FA6-819D-3BE0-780E7DFD4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8" name="Group 17">
            <a:extLst>
              <a:ext uri="{FF2B5EF4-FFF2-40B4-BE49-F238E27FC236}">
                <a16:creationId xmlns:a16="http://schemas.microsoft.com/office/drawing/2014/main" id="{402089F7-81C3-42D4-BE2A-8584769845F8}"/>
              </a:ext>
            </a:extLst>
          </p:cNvPr>
          <p:cNvGrpSpPr/>
          <p:nvPr/>
        </p:nvGrpSpPr>
        <p:grpSpPr>
          <a:xfrm>
            <a:off x="4054359" y="1316206"/>
            <a:ext cx="3321349" cy="962836"/>
            <a:chOff x="4274155" y="889001"/>
            <a:chExt cx="3611633" cy="137945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32A95D83-AB8D-A9A7-FADA-9174B2CAA13E}"/>
                </a:ext>
              </a:extLst>
            </p:cNvPr>
            <p:cNvSpPr txBox="1"/>
            <p:nvPr/>
          </p:nvSpPr>
          <p:spPr>
            <a:xfrm>
              <a:off x="4274155" y="1369142"/>
              <a:ext cx="2108153" cy="899311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1219169" hangingPunct="0"/>
              <a:r>
                <a:rPr lang="en-US" sz="3600" b="1">
                  <a:solidFill>
                    <a:srgbClr val="4B4B50"/>
                  </a:solidFill>
                  <a:latin typeface="Poppins"/>
                  <a:cs typeface="Poppins"/>
                  <a:sym typeface="Poppins Regular"/>
                </a:rPr>
                <a:t>THANK</a:t>
              </a:r>
              <a:endParaRPr lang="en-US" sz="3600" b="1">
                <a:solidFill>
                  <a:srgbClr val="4B4B50"/>
                </a:solidFill>
                <a:latin typeface="Poppins"/>
                <a:cs typeface="Poppins"/>
              </a:endParaRPr>
            </a:p>
          </p:txBody>
        </p:sp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92147725-19E4-BBB3-7B37-A830B5EFB40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187" y="889001"/>
              <a:ext cx="2058987" cy="492125"/>
            </a:xfrm>
            <a:custGeom>
              <a:avLst/>
              <a:gdLst>
                <a:gd name="T0" fmla="*/ 0 w 3695"/>
                <a:gd name="T1" fmla="*/ 627 h 627"/>
                <a:gd name="T2" fmla="*/ 0 w 3695"/>
                <a:gd name="T3" fmla="*/ 627 h 627"/>
                <a:gd name="T4" fmla="*/ 3695 w 3695"/>
                <a:gd name="T5" fmla="*/ 627 h 627"/>
                <a:gd name="T6" fmla="*/ 3695 w 3695"/>
                <a:gd name="T7" fmla="*/ 0 h 627"/>
                <a:gd name="T8" fmla="*/ 0 w 3695"/>
                <a:gd name="T9" fmla="*/ 0 h 627"/>
                <a:gd name="T10" fmla="*/ 0 w 3695"/>
                <a:gd name="T11" fmla="*/ 627 h 6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695" h="627">
                  <a:moveTo>
                    <a:pt x="0" y="627"/>
                  </a:moveTo>
                  <a:lnTo>
                    <a:pt x="0" y="627"/>
                  </a:lnTo>
                  <a:lnTo>
                    <a:pt x="3695" y="627"/>
                  </a:lnTo>
                  <a:lnTo>
                    <a:pt x="3695" y="0"/>
                  </a:lnTo>
                  <a:lnTo>
                    <a:pt x="0" y="0"/>
                  </a:lnTo>
                  <a:lnTo>
                    <a:pt x="0" y="627"/>
                  </a:lnTo>
                  <a:close/>
                </a:path>
              </a:pathLst>
            </a:custGeom>
            <a:solidFill>
              <a:srgbClr val="4B4B5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3FB7615-AE40-1234-0509-8B801F8C4668}"/>
                </a:ext>
              </a:extLst>
            </p:cNvPr>
            <p:cNvSpPr txBox="1"/>
            <p:nvPr/>
          </p:nvSpPr>
          <p:spPr>
            <a:xfrm>
              <a:off x="6352553" y="1395805"/>
              <a:ext cx="1533235" cy="867203"/>
            </a:xfrm>
            <a:prstGeom prst="rect">
              <a:avLst/>
            </a:prstGeom>
            <a:solidFill>
              <a:schemeClr val="bg1"/>
            </a:solidFill>
            <a:ln w="12700" cap="flat">
              <a:noFill/>
              <a:miter lim="400000"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25400" tIns="25400" rIns="25400" bIns="25400" numCol="1" spcCol="38100" rtlCol="0" anchor="ctr">
              <a:spAutoFit/>
            </a:bodyPr>
            <a:lstStyle/>
            <a:p>
              <a:pPr algn="ctr" defTabSz="1219169" hangingPunct="0"/>
              <a:r>
                <a:rPr lang="en-US" sz="3600" b="1">
                  <a:solidFill>
                    <a:srgbClr val="5CC3B3"/>
                  </a:solidFill>
                  <a:latin typeface="Poppins"/>
                  <a:cs typeface="Poppins"/>
                  <a:sym typeface="Poppins Regular"/>
                </a:rPr>
                <a:t>YOU</a:t>
              </a:r>
              <a:endParaRPr lang="en-US" sz="3600" b="1">
                <a:solidFill>
                  <a:srgbClr val="5CC3B3"/>
                </a:solidFill>
                <a:latin typeface="Poppins"/>
                <a:cs typeface="Poppins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ECEA62C8-9DBC-0137-B229-739CCD384B16}"/>
              </a:ext>
            </a:extLst>
          </p:cNvPr>
          <p:cNvSpPr txBox="1"/>
          <p:nvPr/>
        </p:nvSpPr>
        <p:spPr>
          <a:xfrm>
            <a:off x="1753019" y="3761750"/>
            <a:ext cx="5525481" cy="156966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>
                <a:latin typeface="Poppins"/>
                <a:cs typeface="Poppins"/>
              </a:rPr>
              <a:t>Mark Preston</a:t>
            </a:r>
            <a:endParaRPr lang="en-US" sz="24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r>
              <a:rPr lang="en-US" sz="2400">
                <a:latin typeface="Poppins"/>
                <a:cs typeface="Poppins"/>
              </a:rPr>
              <a:t>Bellona Foundation</a:t>
            </a:r>
          </a:p>
          <a:p>
            <a:r>
              <a:rPr lang="en-US" sz="2400">
                <a:latin typeface="Poppins"/>
                <a:cs typeface="Poppins"/>
                <a:hlinkClick r:id="rId5"/>
              </a:rPr>
              <a:t>mark@bellona.org</a:t>
            </a:r>
            <a:r>
              <a:rPr lang="en-US" sz="2400">
                <a:latin typeface="Poppins"/>
                <a:cs typeface="Poppins"/>
              </a:rPr>
              <a:t> </a:t>
            </a:r>
          </a:p>
          <a:p>
            <a:endParaRPr lang="en-US" sz="2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1CAADA-E63A-2D58-4E3D-16DCD2DE5FB9}"/>
              </a:ext>
            </a:extLst>
          </p:cNvPr>
          <p:cNvSpPr txBox="1"/>
          <p:nvPr/>
        </p:nvSpPr>
        <p:spPr>
          <a:xfrm>
            <a:off x="6930710" y="3781288"/>
            <a:ext cx="5525481" cy="12003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2400">
                <a:latin typeface="Poppins"/>
                <a:cs typeface="Poppins"/>
              </a:rPr>
              <a:t>Eli Mitchell-Larson</a:t>
            </a:r>
          </a:p>
          <a:p>
            <a:r>
              <a:rPr lang="en-US" sz="2400">
                <a:latin typeface="Poppins"/>
                <a:cs typeface="Poppins"/>
              </a:rPr>
              <a:t>Carbon Gap</a:t>
            </a:r>
          </a:p>
          <a:p>
            <a:r>
              <a:rPr lang="en-US" sz="2400">
                <a:latin typeface="Poppins"/>
                <a:cs typeface="Poppins"/>
                <a:hlinkClick r:id="rId6"/>
              </a:rPr>
              <a:t>eli@carbongap.org</a:t>
            </a:r>
            <a:r>
              <a:rPr lang="en-US" sz="2400">
                <a:latin typeface="Poppins"/>
                <a:cs typeface="Poppins"/>
              </a:rPr>
              <a:t> </a:t>
            </a:r>
            <a:endParaRPr lang="en-US" sz="24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894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CEB41D2-7D37-1730-62EE-0D19EC9C8F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CEB41D2-7D37-1730-62EE-0D19EC9C8F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3" name="Group 122">
            <a:extLst>
              <a:ext uri="{FF2B5EF4-FFF2-40B4-BE49-F238E27FC236}">
                <a16:creationId xmlns:a16="http://schemas.microsoft.com/office/drawing/2014/main" id="{5A3C9574-CC4F-5695-E819-B3B47D557737}"/>
              </a:ext>
            </a:extLst>
          </p:cNvPr>
          <p:cNvGrpSpPr/>
          <p:nvPr/>
        </p:nvGrpSpPr>
        <p:grpSpPr>
          <a:xfrm>
            <a:off x="455747" y="2097403"/>
            <a:ext cx="6504405" cy="3154804"/>
            <a:chOff x="455747" y="2097403"/>
            <a:chExt cx="6504405" cy="3154804"/>
          </a:xfrm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A5E37B40-1474-C4D1-4727-E17B9427155A}"/>
                </a:ext>
              </a:extLst>
            </p:cNvPr>
            <p:cNvSpPr txBox="1"/>
            <p:nvPr/>
          </p:nvSpPr>
          <p:spPr>
            <a:xfrm>
              <a:off x="681724" y="2652329"/>
              <a:ext cx="6052451" cy="156966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CA" sz="2400" i="0" u="none" strike="noStrike" kern="1200" cap="none" spc="0" normalizeH="0" baseline="0" noProof="0">
                  <a:ln>
                    <a:noFill/>
                  </a:ln>
                  <a:solidFill>
                    <a:srgbClr val="4B4B5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Activities </a:t>
              </a:r>
              <a:r>
                <a:rPr kumimoji="0" lang="en-CA" sz="2400" b="1" i="0" u="none" strike="noStrike" kern="1200" cap="none" spc="0" normalizeH="0" baseline="0" noProof="0">
                  <a:ln>
                    <a:noFill/>
                  </a:ln>
                  <a:solidFill>
                    <a:srgbClr val="008AF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removing CO</a:t>
              </a:r>
              <a:r>
                <a:rPr kumimoji="0" lang="en-CA" sz="2400" b="1" i="0" u="none" strike="noStrike" kern="1200" cap="none" spc="0" normalizeH="0" baseline="-25000" noProof="0">
                  <a:ln>
                    <a:noFill/>
                  </a:ln>
                  <a:solidFill>
                    <a:srgbClr val="008AF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2</a:t>
              </a:r>
              <a:r>
                <a:rPr kumimoji="0" lang="en-CA" sz="2400" b="1" i="0" u="none" strike="noStrike" kern="1200" cap="none" spc="0" normalizeH="0" baseline="0" noProof="0">
                  <a:ln>
                    <a:noFill/>
                  </a:ln>
                  <a:solidFill>
                    <a:srgbClr val="008AF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 from the atmosphere</a:t>
              </a:r>
              <a:r>
                <a:rPr kumimoji="0" lang="en-CA" sz="2400" b="1" i="0" u="none" strike="noStrike" kern="1200" cap="none" spc="0" normalizeH="0" baseline="0" noProof="0">
                  <a:ln>
                    <a:noFill/>
                  </a:ln>
                  <a:solidFill>
                    <a:srgbClr val="4B4B5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 </a:t>
              </a:r>
              <a:r>
                <a:rPr kumimoji="0" lang="en-CA" sz="2400" i="0" u="none" strike="noStrike" kern="1200" cap="none" spc="0" normalizeH="0" baseline="0" noProof="0">
                  <a:ln>
                    <a:noFill/>
                  </a:ln>
                  <a:solidFill>
                    <a:srgbClr val="4B4B5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and </a:t>
              </a:r>
              <a:r>
                <a:rPr kumimoji="0" lang="en-CA" sz="2400" b="1" i="0" u="none" strike="noStrike" kern="1200" cap="none" spc="0" normalizeH="0" baseline="0" noProof="0">
                  <a:ln>
                    <a:noFill/>
                  </a:ln>
                  <a:solidFill>
                    <a:srgbClr val="008AF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durably store </a:t>
              </a:r>
              <a:r>
                <a:rPr kumimoji="0" lang="en-CA" sz="2400" i="0" u="none" strike="noStrike" kern="1200" cap="none" spc="0" normalizeH="0" baseline="0" noProof="0">
                  <a:ln>
                    <a:noFill/>
                  </a:ln>
                  <a:solidFill>
                    <a:srgbClr val="4B4B51"/>
                  </a:solidFill>
                  <a:effectLst/>
                  <a:uLnTx/>
                  <a:uFillTx/>
                  <a:latin typeface="Poppins" panose="00000500000000000000" pitchFamily="2" charset="0"/>
                  <a:cs typeface="Poppins" panose="00000500000000000000" pitchFamily="2" charset="0"/>
                </a:rPr>
                <a:t>it in geological, terrestrial, or ocean reservoirs, or in products.</a:t>
              </a:r>
              <a:endParaRPr kumimoji="0" lang="en-US" sz="2400" i="0" u="none" strike="noStrike" kern="1200" cap="none" spc="0" normalizeH="0" baseline="0" noProof="0">
                <a:ln>
                  <a:noFill/>
                </a:ln>
                <a:solidFill>
                  <a:srgbClr val="4B4B51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37F4D7F7-EA7D-228E-1CA4-D93B8941F5A2}"/>
                </a:ext>
              </a:extLst>
            </p:cNvPr>
            <p:cNvSpPr txBox="1"/>
            <p:nvPr/>
          </p:nvSpPr>
          <p:spPr>
            <a:xfrm>
              <a:off x="455747" y="2097403"/>
              <a:ext cx="889000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0" i="0">
                  <a:solidFill>
                    <a:srgbClr val="018BF5"/>
                  </a:solidFill>
                  <a:latin typeface="Axiforma-Black" panose="00000900000000000000" pitchFamily="50" charset="0"/>
                  <a:cs typeface="Poppins" panose="00000500000000000000" pitchFamily="2" charset="0"/>
                </a:rPr>
                <a:t>“ </a:t>
              </a:r>
              <a:endParaRPr lang="en-US" sz="8000">
                <a:solidFill>
                  <a:srgbClr val="018BF5"/>
                </a:solidFill>
                <a:latin typeface="Axiforma-Black" panose="00000900000000000000" pitchFamily="50" charset="0"/>
                <a:cs typeface="Poppins" panose="00000500000000000000" pitchFamily="2" charset="0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A65BD8F-A93B-4292-6BE2-DE403B036C7B}"/>
                </a:ext>
              </a:extLst>
            </p:cNvPr>
            <p:cNvSpPr txBox="1"/>
            <p:nvPr/>
          </p:nvSpPr>
          <p:spPr>
            <a:xfrm>
              <a:off x="5969552" y="3928768"/>
              <a:ext cx="990600" cy="132343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8000" i="0">
                  <a:solidFill>
                    <a:srgbClr val="018BF5"/>
                  </a:solidFill>
                  <a:latin typeface="Axiforma-Black" panose="00000900000000000000" pitchFamily="50" charset="0"/>
                  <a:cs typeface="Poppins" panose="00000500000000000000" pitchFamily="2" charset="0"/>
                </a:rPr>
                <a:t>” </a:t>
              </a:r>
              <a:endParaRPr lang="en-US" sz="8000">
                <a:solidFill>
                  <a:srgbClr val="018BF5"/>
                </a:solidFill>
                <a:latin typeface="Axiforma-Black" panose="00000900000000000000" pitchFamily="50" charset="0"/>
                <a:cs typeface="Poppins" panose="00000500000000000000" pitchFamily="2" charset="0"/>
              </a:endParaRP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CAF15986-7B38-81F5-27F1-E2C9052AA2AE}"/>
                </a:ext>
              </a:extLst>
            </p:cNvPr>
            <p:cNvSpPr txBox="1"/>
            <p:nvPr/>
          </p:nvSpPr>
          <p:spPr>
            <a:xfrm>
              <a:off x="692971" y="4490147"/>
              <a:ext cx="605245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CA" sz="1800">
                  <a:solidFill>
                    <a:srgbClr val="4B4B5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- IPCC, Working Group III</a:t>
              </a:r>
              <a:endParaRPr lang="en-US" sz="1800">
                <a:solidFill>
                  <a:srgbClr val="4B4B51"/>
                </a:solidFill>
                <a:latin typeface="Poppins" panose="00000500000000000000" pitchFamily="2" charset="0"/>
                <a:cs typeface="Poppins" panose="00000500000000000000" pitchFamily="2" charset="0"/>
              </a:endParaRPr>
            </a:p>
          </p:txBody>
        </p:sp>
      </p:grpSp>
      <p:pic>
        <p:nvPicPr>
          <p:cNvPr id="69" name="Google Shape;115;p16">
            <a:extLst>
              <a:ext uri="{FF2B5EF4-FFF2-40B4-BE49-F238E27FC236}">
                <a16:creationId xmlns:a16="http://schemas.microsoft.com/office/drawing/2014/main" id="{6622C0F8-7DBE-8550-9570-CA1D059FA88B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5">
            <a:alphaModFix/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1416" r="21411"/>
          <a:stretch/>
        </p:blipFill>
        <p:spPr>
          <a:xfrm>
            <a:off x="8682717" y="3166842"/>
            <a:ext cx="1865583" cy="1982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72" name="Google Shape;119;p16">
            <a:extLst>
              <a:ext uri="{FF2B5EF4-FFF2-40B4-BE49-F238E27FC236}">
                <a16:creationId xmlns:a16="http://schemas.microsoft.com/office/drawing/2014/main" id="{3A3436D0-A8C5-C4E7-E2F6-CFD920CEEB37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7">
            <a:alphaModFix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36352" r="6544" b="3409"/>
          <a:stretch/>
        </p:blipFill>
        <p:spPr>
          <a:xfrm>
            <a:off x="7020497" y="1653436"/>
            <a:ext cx="1728000" cy="1770333"/>
          </a:xfrm>
          <a:prstGeom prst="rect">
            <a:avLst/>
          </a:prstGeom>
          <a:noFill/>
          <a:ln>
            <a:noFill/>
          </a:ln>
        </p:spPr>
      </p:pic>
      <p:pic>
        <p:nvPicPr>
          <p:cNvPr id="74" name="Picture 52">
            <a:extLst>
              <a:ext uri="{FF2B5EF4-FFF2-40B4-BE49-F238E27FC236}">
                <a16:creationId xmlns:a16="http://schemas.microsoft.com/office/drawing/2014/main" id="{610A3E76-49D0-5637-E71D-D92201010844}"/>
              </a:ext>
            </a:extLst>
          </p:cNvPr>
          <p:cNvPicPr>
            <a:picLocks noChangeArrowheads="1"/>
          </p:cNvPicPr>
          <p:nvPr/>
        </p:nvPicPr>
        <p:blipFill rotWithShape="1">
          <a:blip r:embed="rId9">
            <a:alphaModFix/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3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92" r="16692"/>
          <a:stretch/>
        </p:blipFill>
        <p:spPr bwMode="auto">
          <a:xfrm>
            <a:off x="8700373" y="1706352"/>
            <a:ext cx="1802083" cy="17174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" name="Google Shape;123;p16">
            <a:extLst>
              <a:ext uri="{FF2B5EF4-FFF2-40B4-BE49-F238E27FC236}">
                <a16:creationId xmlns:a16="http://schemas.microsoft.com/office/drawing/2014/main" id="{E1F4971C-5E39-6967-2A9D-F6C481ECBEBA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1">
            <a:alphaModFix/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5486" t="15232" r="33969" b="36069"/>
          <a:stretch/>
        </p:blipFill>
        <p:spPr>
          <a:xfrm>
            <a:off x="8548328" y="-3371"/>
            <a:ext cx="1971416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4" name="Google Shape;137;p16">
            <a:extLst>
              <a:ext uri="{FF2B5EF4-FFF2-40B4-BE49-F238E27FC236}">
                <a16:creationId xmlns:a16="http://schemas.microsoft.com/office/drawing/2014/main" id="{46054B15-474C-B855-C30E-8219CA143D7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3">
            <a:alphaModFix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0610" r="14555"/>
          <a:stretch/>
        </p:blipFill>
        <p:spPr>
          <a:xfrm>
            <a:off x="7020497" y="-3371"/>
            <a:ext cx="1675084" cy="1717417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Google Shape;142;p16">
            <a:extLst>
              <a:ext uri="{FF2B5EF4-FFF2-40B4-BE49-F238E27FC236}">
                <a16:creationId xmlns:a16="http://schemas.microsoft.com/office/drawing/2014/main" id="{6098D450-1DD8-2B25-72CC-B332EB67D5A5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5">
            <a:alphaModFix/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25366" t="21629" r="24649" b="19915"/>
          <a:stretch/>
        </p:blipFill>
        <p:spPr>
          <a:xfrm>
            <a:off x="7016418" y="3420842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89" name="Picture 50" descr="Organic Maize Farming, Cultivation Practices (Corn) | Agri Farming">
            <a:extLst>
              <a:ext uri="{FF2B5EF4-FFF2-40B4-BE49-F238E27FC236}">
                <a16:creationId xmlns:a16="http://schemas.microsoft.com/office/drawing/2014/main" id="{EA7FF959-A451-3AA7-8ADC-39A68348F915}"/>
              </a:ext>
            </a:extLst>
          </p:cNvPr>
          <p:cNvPicPr>
            <a:picLocks noChangeArrowheads="1"/>
          </p:cNvPicPr>
          <p:nvPr/>
        </p:nvPicPr>
        <p:blipFill rotWithShape="1"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-3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75" t="11789" r="45077" b="29459"/>
          <a:stretch/>
        </p:blipFill>
        <p:spPr bwMode="auto">
          <a:xfrm>
            <a:off x="10463086" y="3420842"/>
            <a:ext cx="1728000" cy="17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4" name="Google Shape;125;p16">
            <a:extLst>
              <a:ext uri="{FF2B5EF4-FFF2-40B4-BE49-F238E27FC236}">
                <a16:creationId xmlns:a16="http://schemas.microsoft.com/office/drawing/2014/main" id="{8E8E6674-0854-20F3-651E-4DDBC65E20B3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19">
            <a:alphaModFix/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35060"/>
          <a:stretch/>
        </p:blipFill>
        <p:spPr>
          <a:xfrm>
            <a:off x="10464000" y="-13954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Google Shape;124;p16">
            <a:extLst>
              <a:ext uri="{FF2B5EF4-FFF2-40B4-BE49-F238E27FC236}">
                <a16:creationId xmlns:a16="http://schemas.microsoft.com/office/drawing/2014/main" id="{68EEBA2E-E15D-627C-1B15-479D40CCC200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1">
            <a:alphaModFix/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43152"/>
          <a:stretch/>
        </p:blipFill>
        <p:spPr>
          <a:xfrm>
            <a:off x="10463086" y="1706352"/>
            <a:ext cx="1728000" cy="172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0" name="Google Shape;130;p16">
            <a:extLst>
              <a:ext uri="{FF2B5EF4-FFF2-40B4-BE49-F238E27FC236}">
                <a16:creationId xmlns:a16="http://schemas.microsoft.com/office/drawing/2014/main" id="{CAA582A6-3137-3CF2-3A46-C0D734740675}"/>
              </a:ext>
            </a:extLst>
          </p:cNvPr>
          <p:cNvSpPr txBox="1"/>
          <p:nvPr/>
        </p:nvSpPr>
        <p:spPr>
          <a:xfrm>
            <a:off x="8694521" y="4009610"/>
            <a:ext cx="1728000" cy="483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iochar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3" name="Google Shape;136;p16">
            <a:extLst>
              <a:ext uri="{FF2B5EF4-FFF2-40B4-BE49-F238E27FC236}">
                <a16:creationId xmlns:a16="http://schemas.microsoft.com/office/drawing/2014/main" id="{67AC40E1-61ED-9819-D80D-0E1E27003A68}"/>
              </a:ext>
            </a:extLst>
          </p:cNvPr>
          <p:cNvSpPr txBox="1"/>
          <p:nvPr/>
        </p:nvSpPr>
        <p:spPr>
          <a:xfrm>
            <a:off x="8776004" y="332299"/>
            <a:ext cx="1728000" cy="9148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iomass CO</a:t>
            </a:r>
            <a:r>
              <a:rPr lang="en" sz="1400" b="1" baseline="-25000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2</a:t>
            </a:r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Removal &amp; </a:t>
            </a: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Storage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4" name="Google Shape;139;p16">
            <a:extLst>
              <a:ext uri="{FF2B5EF4-FFF2-40B4-BE49-F238E27FC236}">
                <a16:creationId xmlns:a16="http://schemas.microsoft.com/office/drawing/2014/main" id="{716A9003-055E-C9C3-A3F6-A0C9B77C0E03}"/>
              </a:ext>
            </a:extLst>
          </p:cNvPr>
          <p:cNvSpPr txBox="1"/>
          <p:nvPr/>
        </p:nvSpPr>
        <p:spPr>
          <a:xfrm>
            <a:off x="6993904" y="443424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/>
                <a:ea typeface="Montserrat SemiBold"/>
                <a:cs typeface="Poppins"/>
                <a:sym typeface="Montserrat SemiBold"/>
              </a:rPr>
              <a:t>CO</a:t>
            </a:r>
            <a:r>
              <a:rPr lang="en" sz="1400" b="1" baseline="-25000">
                <a:solidFill>
                  <a:schemeClr val="lt1"/>
                </a:solidFill>
                <a:latin typeface="Poppins"/>
                <a:ea typeface="Montserrat SemiBold"/>
                <a:cs typeface="Poppins"/>
                <a:sym typeface="Montserrat SemiBold"/>
              </a:rPr>
              <a:t>2</a:t>
            </a:r>
            <a:r>
              <a:rPr lang="en" sz="1400" b="1">
                <a:solidFill>
                  <a:schemeClr val="lt1"/>
                </a:solidFill>
                <a:latin typeface="Poppins"/>
                <a:ea typeface="Montserrat SemiBold"/>
                <a:cs typeface="Poppins"/>
                <a:sym typeface="Montserrat SemiBold"/>
              </a:rPr>
              <a:t> 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 err="1">
                <a:solidFill>
                  <a:schemeClr val="lt1"/>
                </a:solidFill>
                <a:latin typeface="Poppins"/>
                <a:ea typeface="Montserrat SemiBold"/>
                <a:cs typeface="Poppins"/>
                <a:sym typeface="Montserrat SemiBold"/>
              </a:rPr>
              <a:t>Mineralisation</a:t>
            </a:r>
            <a:endParaRPr sz="1400" b="1" err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5" name="Google Shape;140;p16">
            <a:extLst>
              <a:ext uri="{FF2B5EF4-FFF2-40B4-BE49-F238E27FC236}">
                <a16:creationId xmlns:a16="http://schemas.microsoft.com/office/drawing/2014/main" id="{F3B69F6A-F299-640F-F538-59E4D5FC4361}"/>
              </a:ext>
            </a:extLst>
          </p:cNvPr>
          <p:cNvSpPr txBox="1"/>
          <p:nvPr/>
        </p:nvSpPr>
        <p:spPr>
          <a:xfrm>
            <a:off x="7026204" y="2241637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lue Carb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Restor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6" name="Google Shape;145;p16">
            <a:extLst>
              <a:ext uri="{FF2B5EF4-FFF2-40B4-BE49-F238E27FC236}">
                <a16:creationId xmlns:a16="http://schemas.microsoft.com/office/drawing/2014/main" id="{F123F0C7-2411-37D2-9BBD-D9D855114ED8}"/>
              </a:ext>
            </a:extLst>
          </p:cNvPr>
          <p:cNvSpPr txBox="1"/>
          <p:nvPr/>
        </p:nvSpPr>
        <p:spPr>
          <a:xfrm>
            <a:off x="10477411" y="443424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Ocean Alkalinity Enhancement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7" name="Google Shape;148;p16">
            <a:extLst>
              <a:ext uri="{FF2B5EF4-FFF2-40B4-BE49-F238E27FC236}">
                <a16:creationId xmlns:a16="http://schemas.microsoft.com/office/drawing/2014/main" id="{B5C2AF7B-3FE0-8A0F-F395-F89FECD72A25}"/>
              </a:ext>
            </a:extLst>
          </p:cNvPr>
          <p:cNvSpPr txBox="1"/>
          <p:nvPr/>
        </p:nvSpPr>
        <p:spPr>
          <a:xfrm>
            <a:off x="8748334" y="2347470"/>
            <a:ext cx="1728000" cy="4839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Forest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94A8916A-7BA5-93A4-4728-02194A50DAE4}"/>
              </a:ext>
            </a:extLst>
          </p:cNvPr>
          <p:cNvSpPr/>
          <p:nvPr/>
        </p:nvSpPr>
        <p:spPr>
          <a:xfrm>
            <a:off x="498233" y="1128476"/>
            <a:ext cx="6235942" cy="658167"/>
          </a:xfrm>
          <a:prstGeom prst="rect">
            <a:avLst/>
          </a:prstGeom>
          <a:solidFill>
            <a:srgbClr val="008AF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8" name="Google Shape;149;p16">
            <a:extLst>
              <a:ext uri="{FF2B5EF4-FFF2-40B4-BE49-F238E27FC236}">
                <a16:creationId xmlns:a16="http://schemas.microsoft.com/office/drawing/2014/main" id="{E2BA55AD-97CE-7A5D-4BE4-F8B84A8B9512}"/>
              </a:ext>
            </a:extLst>
          </p:cNvPr>
          <p:cNvSpPr txBox="1"/>
          <p:nvPr/>
        </p:nvSpPr>
        <p:spPr>
          <a:xfrm>
            <a:off x="10465904" y="2241637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Direct Air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Capture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9" name="Google Shape;150;p16">
            <a:extLst>
              <a:ext uri="{FF2B5EF4-FFF2-40B4-BE49-F238E27FC236}">
                <a16:creationId xmlns:a16="http://schemas.microsoft.com/office/drawing/2014/main" id="{8F957B25-B2AC-A002-01CB-AE630E9A4ACA}"/>
              </a:ext>
            </a:extLst>
          </p:cNvPr>
          <p:cNvSpPr txBox="1"/>
          <p:nvPr/>
        </p:nvSpPr>
        <p:spPr>
          <a:xfrm>
            <a:off x="7015404" y="3898485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Bioliquid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Injec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12" name="Google Shape;149;p16">
            <a:extLst>
              <a:ext uri="{FF2B5EF4-FFF2-40B4-BE49-F238E27FC236}">
                <a16:creationId xmlns:a16="http://schemas.microsoft.com/office/drawing/2014/main" id="{4DE2AAE9-323D-ABD2-08A8-1C53424C718D}"/>
              </a:ext>
            </a:extLst>
          </p:cNvPr>
          <p:cNvSpPr txBox="1"/>
          <p:nvPr/>
        </p:nvSpPr>
        <p:spPr>
          <a:xfrm>
            <a:off x="10477411" y="3898485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Soil Carbon</a:t>
            </a:r>
          </a:p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Sequestr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13" name="TextBox 112">
            <a:extLst>
              <a:ext uri="{FF2B5EF4-FFF2-40B4-BE49-F238E27FC236}">
                <a16:creationId xmlns:a16="http://schemas.microsoft.com/office/drawing/2014/main" id="{B9E1C172-96E8-337D-ECD6-E4BA2BD9D181}"/>
              </a:ext>
            </a:extLst>
          </p:cNvPr>
          <p:cNvSpPr txBox="1"/>
          <p:nvPr/>
        </p:nvSpPr>
        <p:spPr>
          <a:xfrm>
            <a:off x="455747" y="442942"/>
            <a:ext cx="6278428" cy="13437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ts val="5000"/>
              </a:lnSpc>
            </a:pPr>
            <a:r>
              <a:rPr lang="en-US" sz="3600" b="1">
                <a:solidFill>
                  <a:srgbClr val="4B4B51"/>
                </a:solidFill>
                <a:latin typeface="Poppins"/>
                <a:ea typeface="Asimov" pitchFamily="50" charset="0"/>
                <a:cs typeface="Poppins"/>
              </a:rPr>
              <a:t>What is</a:t>
            </a:r>
            <a:endParaRPr lang="en-US" sz="3600" b="1">
              <a:solidFill>
                <a:schemeClr val="bg1"/>
              </a:solidFill>
              <a:latin typeface="Poppins"/>
              <a:ea typeface="Asimov" pitchFamily="50" charset="0"/>
              <a:cs typeface="Poppins"/>
            </a:endParaRPr>
          </a:p>
          <a:p>
            <a:pPr>
              <a:lnSpc>
                <a:spcPts val="5000"/>
              </a:lnSpc>
            </a:pPr>
            <a:r>
              <a:rPr lang="en-US" sz="3600" b="1">
                <a:solidFill>
                  <a:schemeClr val="bg1"/>
                </a:solidFill>
                <a:latin typeface="Poppins"/>
                <a:ea typeface="Asimov" pitchFamily="50" charset="0"/>
                <a:cs typeface="Poppins"/>
              </a:rPr>
              <a:t>Carbon Dioxide Removal?</a:t>
            </a:r>
          </a:p>
        </p:txBody>
      </p:sp>
      <p:grpSp>
        <p:nvGrpSpPr>
          <p:cNvPr id="122" name="Group 121">
            <a:extLst>
              <a:ext uri="{FF2B5EF4-FFF2-40B4-BE49-F238E27FC236}">
                <a16:creationId xmlns:a16="http://schemas.microsoft.com/office/drawing/2014/main" id="{C92743CF-89FA-203A-EDFC-14086AEF574B}"/>
              </a:ext>
            </a:extLst>
          </p:cNvPr>
          <p:cNvGrpSpPr/>
          <p:nvPr/>
        </p:nvGrpSpPr>
        <p:grpSpPr>
          <a:xfrm>
            <a:off x="498232" y="5178451"/>
            <a:ext cx="5661654" cy="1053679"/>
            <a:chOff x="498232" y="5178451"/>
            <a:chExt cx="5661654" cy="1053679"/>
          </a:xfrm>
        </p:grpSpPr>
        <p:sp>
          <p:nvSpPr>
            <p:cNvPr id="117" name="Rectangle 116">
              <a:extLst>
                <a:ext uri="{FF2B5EF4-FFF2-40B4-BE49-F238E27FC236}">
                  <a16:creationId xmlns:a16="http://schemas.microsoft.com/office/drawing/2014/main" id="{2C70830E-B52E-EE55-EC76-1796F5217BD9}"/>
                </a:ext>
              </a:extLst>
            </p:cNvPr>
            <p:cNvSpPr/>
            <p:nvPr/>
          </p:nvSpPr>
          <p:spPr>
            <a:xfrm>
              <a:off x="498232" y="5360458"/>
              <a:ext cx="5471319" cy="871672"/>
            </a:xfrm>
            <a:prstGeom prst="rect">
              <a:avLst/>
            </a:prstGeom>
            <a:solidFill>
              <a:srgbClr val="4C4B51"/>
            </a:solidFill>
            <a:ln>
              <a:solidFill>
                <a:srgbClr val="4C4B5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rIns="576000" rtlCol="0" anchor="ctr"/>
            <a:lstStyle/>
            <a:p>
              <a:r>
                <a:rPr lang="en-US" b="1">
                  <a:solidFill>
                    <a:schemeClr val="bg1"/>
                  </a:solidFill>
                  <a:latin typeface="Poppins" panose="00000500000000000000" pitchFamily="2" charset="0"/>
                  <a:cs typeface="Poppins" panose="00000500000000000000" pitchFamily="2" charset="0"/>
                </a:rPr>
                <a:t>A vast array of Carbon Dioxide Removal solutions can be scaled up for impact.</a:t>
              </a:r>
            </a:p>
          </p:txBody>
        </p:sp>
        <p:grpSp>
          <p:nvGrpSpPr>
            <p:cNvPr id="119" name="Group 118">
              <a:extLst>
                <a:ext uri="{FF2B5EF4-FFF2-40B4-BE49-F238E27FC236}">
                  <a16:creationId xmlns:a16="http://schemas.microsoft.com/office/drawing/2014/main" id="{182DBC74-D7A3-8408-F870-B95EAA4F5FF1}"/>
                </a:ext>
              </a:extLst>
            </p:cNvPr>
            <p:cNvGrpSpPr/>
            <p:nvPr/>
          </p:nvGrpSpPr>
          <p:grpSpPr>
            <a:xfrm>
              <a:off x="5450579" y="5178451"/>
              <a:ext cx="709307" cy="709307"/>
              <a:chOff x="3563697" y="3210824"/>
              <a:chExt cx="432000" cy="432000"/>
            </a:xfrm>
            <a:solidFill>
              <a:srgbClr val="FF6421"/>
            </a:solidFill>
          </p:grpSpPr>
          <p:sp>
            <p:nvSpPr>
              <p:cNvPr id="120" name="Rectangle 119">
                <a:extLst>
                  <a:ext uri="{FF2B5EF4-FFF2-40B4-BE49-F238E27FC236}">
                    <a16:creationId xmlns:a16="http://schemas.microsoft.com/office/drawing/2014/main" id="{9E03987D-B645-580E-F94E-F76A51951992}"/>
                  </a:ext>
                </a:extLst>
              </p:cNvPr>
              <p:cNvSpPr/>
              <p:nvPr/>
            </p:nvSpPr>
            <p:spPr>
              <a:xfrm>
                <a:off x="3563697" y="3210824"/>
                <a:ext cx="432000" cy="432000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1" name="Arrow: Chevron 120">
                <a:extLst>
                  <a:ext uri="{FF2B5EF4-FFF2-40B4-BE49-F238E27FC236}">
                    <a16:creationId xmlns:a16="http://schemas.microsoft.com/office/drawing/2014/main" id="{13D7F3B0-51AF-7BE6-E474-A7ED9F5EA5AD}"/>
                  </a:ext>
                </a:extLst>
              </p:cNvPr>
              <p:cNvSpPr/>
              <p:nvPr/>
            </p:nvSpPr>
            <p:spPr>
              <a:xfrm>
                <a:off x="3671697" y="3318824"/>
                <a:ext cx="216000" cy="216000"/>
              </a:xfrm>
              <a:prstGeom prst="chevron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schemeClr val="tx1"/>
                  </a:solidFill>
                </a:endParaRPr>
              </a:p>
            </p:txBody>
          </p:sp>
        </p:grpSp>
      </p:grpSp>
      <p:pic>
        <p:nvPicPr>
          <p:cNvPr id="62" name="Picture 48">
            <a:extLst>
              <a:ext uri="{FF2B5EF4-FFF2-40B4-BE49-F238E27FC236}">
                <a16:creationId xmlns:a16="http://schemas.microsoft.com/office/drawing/2014/main" id="{08CD9214-49CB-6181-326A-7FED7F9FB880}"/>
              </a:ext>
            </a:extLst>
          </p:cNvPr>
          <p:cNvPicPr>
            <a:picLocks noChangeArrowheads="1"/>
          </p:cNvPicPr>
          <p:nvPr/>
        </p:nvPicPr>
        <p:blipFill rotWithShape="1">
          <a:blip r:embed="rId23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rightnessContrast bright="-3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6667" r="16667"/>
          <a:stretch/>
        </p:blipFill>
        <p:spPr bwMode="auto">
          <a:xfrm>
            <a:off x="8679218" y="5134218"/>
            <a:ext cx="1876167" cy="172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Google Shape;126;p16">
            <a:extLst>
              <a:ext uri="{FF2B5EF4-FFF2-40B4-BE49-F238E27FC236}">
                <a16:creationId xmlns:a16="http://schemas.microsoft.com/office/drawing/2014/main" id="{ECF37070-539A-E1D2-DA83-09DD2D01D4B6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5">
            <a:alphaModFix/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17803" r="27112"/>
          <a:stretch/>
        </p:blipFill>
        <p:spPr>
          <a:xfrm>
            <a:off x="7016418" y="5134218"/>
            <a:ext cx="1728000" cy="1728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1" name="Google Shape;117;p16">
            <a:extLst>
              <a:ext uri="{FF2B5EF4-FFF2-40B4-BE49-F238E27FC236}">
                <a16:creationId xmlns:a16="http://schemas.microsoft.com/office/drawing/2014/main" id="{2FD0AC78-FEEF-FCB3-B23E-E3BC059AE63D}"/>
              </a:ext>
            </a:extLst>
          </p:cNvPr>
          <p:cNvPicPr preferRelativeResize="0">
            <a:picLocks/>
          </p:cNvPicPr>
          <p:nvPr/>
        </p:nvPicPr>
        <p:blipFill rotWithShape="1">
          <a:blip r:embed="rId27">
            <a:alphaModFix/>
            <a:extLst>
              <a:ext uri="{BEBA8EAE-BF5A-486C-A8C5-ECC9F3942E4B}">
                <a14:imgProps xmlns:a14="http://schemas.microsoft.com/office/drawing/2010/main">
                  <a14:imgLayer r:embed="rId28">
                    <a14:imgEffect>
                      <a14:brightnessContrast bright="-30000" contrast="20000"/>
                    </a14:imgEffect>
                  </a14:imgLayer>
                </a14:imgProps>
              </a:ext>
            </a:extLst>
          </a:blip>
          <a:srcRect l="34716" t="-311" r="8127" b="-311"/>
          <a:stretch/>
        </p:blipFill>
        <p:spPr>
          <a:xfrm>
            <a:off x="10469019" y="5134218"/>
            <a:ext cx="1728000" cy="172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01" name="Google Shape;131;p16">
            <a:extLst>
              <a:ext uri="{FF2B5EF4-FFF2-40B4-BE49-F238E27FC236}">
                <a16:creationId xmlns:a16="http://schemas.microsoft.com/office/drawing/2014/main" id="{A29184C7-9EC1-25BE-5ED3-2CC7AE0817E3}"/>
              </a:ext>
            </a:extLst>
          </p:cNvPr>
          <p:cNvSpPr txBox="1"/>
          <p:nvPr/>
        </p:nvSpPr>
        <p:spPr>
          <a:xfrm>
            <a:off x="7032002" y="5613808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Mineral Soil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Amendment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02" name="Google Shape;132;p16">
            <a:extLst>
              <a:ext uri="{FF2B5EF4-FFF2-40B4-BE49-F238E27FC236}">
                <a16:creationId xmlns:a16="http://schemas.microsoft.com/office/drawing/2014/main" id="{72B841B4-7E64-E61E-0CCD-D3C852CB36D9}"/>
              </a:ext>
            </a:extLst>
          </p:cNvPr>
          <p:cNvSpPr txBox="1"/>
          <p:nvPr/>
        </p:nvSpPr>
        <p:spPr>
          <a:xfrm>
            <a:off x="10453434" y="5613808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Peat 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  <a:p>
            <a:pPr algn="ctr"/>
            <a:r>
              <a:rPr lang="en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Restoration</a:t>
            </a:r>
            <a:endParaRPr sz="1400" b="1">
              <a:solidFill>
                <a:schemeClr val="lt1"/>
              </a:solidFill>
              <a:latin typeface="Poppins" panose="00000500000000000000" pitchFamily="2" charset="0"/>
              <a:ea typeface="Montserrat SemiBold"/>
              <a:cs typeface="Poppins" panose="00000500000000000000" pitchFamily="2" charset="0"/>
              <a:sym typeface="Montserrat SemiBold"/>
            </a:endParaRPr>
          </a:p>
        </p:txBody>
      </p:sp>
      <p:sp>
        <p:nvSpPr>
          <p:cNvPr id="110" name="Google Shape;139;p16">
            <a:extLst>
              <a:ext uri="{FF2B5EF4-FFF2-40B4-BE49-F238E27FC236}">
                <a16:creationId xmlns:a16="http://schemas.microsoft.com/office/drawing/2014/main" id="{2B9761F9-DC53-C102-E1CF-74E814FD886F}"/>
              </a:ext>
            </a:extLst>
          </p:cNvPr>
          <p:cNvSpPr txBox="1"/>
          <p:nvPr/>
        </p:nvSpPr>
        <p:spPr>
          <a:xfrm>
            <a:off x="8742718" y="5613808"/>
            <a:ext cx="1728000" cy="6993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144000" rIns="0" bIns="121900" anchor="t" anchorCtr="0">
            <a:spAutoFit/>
          </a:bodyPr>
          <a:lstStyle/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Frontier </a:t>
            </a:r>
          </a:p>
          <a:p>
            <a:pPr algn="ctr"/>
            <a:r>
              <a:rPr lang="en-US" sz="1400" b="1">
                <a:solidFill>
                  <a:schemeClr val="lt1"/>
                </a:solidFill>
                <a:latin typeface="Poppins" panose="00000500000000000000" pitchFamily="2" charset="0"/>
                <a:ea typeface="Montserrat SemiBold"/>
                <a:cs typeface="Poppins" panose="00000500000000000000" pitchFamily="2" charset="0"/>
                <a:sym typeface="Montserrat SemiBold"/>
              </a:rPr>
              <a:t>CDR </a:t>
            </a:r>
          </a:p>
        </p:txBody>
      </p:sp>
    </p:spTree>
    <p:extLst>
      <p:ext uri="{BB962C8B-B14F-4D97-AF65-F5344CB8AC3E}">
        <p14:creationId xmlns:p14="http://schemas.microsoft.com/office/powerpoint/2010/main" val="24207719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4">
            <a:extLst>
              <a:ext uri="{FF2B5EF4-FFF2-40B4-BE49-F238E27FC236}">
                <a16:creationId xmlns:a16="http://schemas.microsoft.com/office/drawing/2014/main" id="{275D988B-093F-0266-81F2-DB5124D80BA7}"/>
              </a:ext>
            </a:extLst>
          </p:cNvPr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D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Google Shape;293;p50">
            <a:extLst>
              <a:ext uri="{FF2B5EF4-FFF2-40B4-BE49-F238E27FC236}">
                <a16:creationId xmlns:a16="http://schemas.microsoft.com/office/drawing/2014/main" id="{65051385-4E7F-7FDC-6D03-1A56760D4776}"/>
              </a:ext>
            </a:extLst>
          </p:cNvPr>
          <p:cNvSpPr txBox="1">
            <a:spLocks/>
          </p:cNvSpPr>
          <p:nvPr/>
        </p:nvSpPr>
        <p:spPr>
          <a:xfrm>
            <a:off x="358775" y="774650"/>
            <a:ext cx="9630352" cy="3231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dirty="0"/>
              <a:t>Principles for defining Carbon Dioxide Removal</a:t>
            </a:r>
          </a:p>
        </p:txBody>
      </p:sp>
      <p:pic>
        <p:nvPicPr>
          <p:cNvPr id="33" name="Google Shape;294;p50">
            <a:extLst>
              <a:ext uri="{FF2B5EF4-FFF2-40B4-BE49-F238E27FC236}">
                <a16:creationId xmlns:a16="http://schemas.microsoft.com/office/drawing/2014/main" id="{70FB8189-4DB1-BD3D-335C-1B39B894FA3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21655" y="1459341"/>
            <a:ext cx="6378561" cy="5024949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295;p50">
            <a:extLst>
              <a:ext uri="{FF2B5EF4-FFF2-40B4-BE49-F238E27FC236}">
                <a16:creationId xmlns:a16="http://schemas.microsoft.com/office/drawing/2014/main" id="{6D56DEF6-F1D2-851E-7E26-EB555CDD119F}"/>
              </a:ext>
            </a:extLst>
          </p:cNvPr>
          <p:cNvSpPr txBox="1">
            <a:spLocks/>
          </p:cNvSpPr>
          <p:nvPr/>
        </p:nvSpPr>
        <p:spPr>
          <a:xfrm>
            <a:off x="358776" y="1241475"/>
            <a:ext cx="5529702" cy="4685912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CO₂ is </a:t>
            </a:r>
            <a:r>
              <a:rPr lang="en-GB" sz="2000" b="1" dirty="0"/>
              <a:t>physically extracted </a:t>
            </a:r>
            <a:r>
              <a:rPr lang="en-GB" sz="2000" dirty="0"/>
              <a:t>from the atmosphere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The extracted atmospheric CO₂ is </a:t>
            </a:r>
            <a:r>
              <a:rPr lang="en-GB" sz="2000" b="1" dirty="0"/>
              <a:t>permanently stored</a:t>
            </a:r>
            <a:r>
              <a:rPr lang="en-GB" sz="2000" dirty="0"/>
              <a:t>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All greenhouse gas emissions associated with the removal and storage processes are comprehensively estimated and included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More atmospheric CO₂ is permanently stored than greenhouse gases are emitted in the removal and storage processes and their complete supply chains.</a:t>
            </a:r>
            <a:endParaRPr lang="en-US" sz="2000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b="1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b="1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E2D151-E0CA-CBDC-E141-2F1E4D580747}"/>
              </a:ext>
            </a:extLst>
          </p:cNvPr>
          <p:cNvSpPr txBox="1"/>
          <p:nvPr/>
        </p:nvSpPr>
        <p:spPr>
          <a:xfrm>
            <a:off x="9308723" y="6211669"/>
            <a:ext cx="60985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0" strike="noStrike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From: Tanzer et al (2019)</a:t>
            </a:r>
          </a:p>
          <a:p>
            <a:r>
              <a:rPr lang="en-US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</a:rPr>
              <a:t>DOI: </a:t>
            </a:r>
            <a:r>
              <a:rPr lang="en-US" i="0" strike="noStrike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10.1039/C8EE03338B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2ACFB5-3A39-D3A6-73DC-692ADC79E155}"/>
              </a:ext>
            </a:extLst>
          </p:cNvPr>
          <p:cNvSpPr txBox="1"/>
          <p:nvPr/>
        </p:nvSpPr>
        <p:spPr>
          <a:xfrm>
            <a:off x="-2514" y="6191550"/>
            <a:ext cx="60985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0" strike="noStrike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From: Tanzer et al (2019)</a:t>
            </a:r>
          </a:p>
          <a:p>
            <a:r>
              <a:rPr lang="en-US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</a:rPr>
              <a:t>DOI: </a:t>
            </a:r>
            <a:r>
              <a:rPr lang="en-US" i="0" strike="noStrike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10.1039/C8EE03338B</a:t>
            </a:r>
            <a:endParaRPr lang="en-US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725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311BBCD0-4622-BF0B-5AC4-E6EAD8A044F1}"/>
              </a:ext>
            </a:extLst>
          </p:cNvPr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D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oogle Shape;271;p48">
            <a:extLst>
              <a:ext uri="{FF2B5EF4-FFF2-40B4-BE49-F238E27FC236}">
                <a16:creationId xmlns:a16="http://schemas.microsoft.com/office/drawing/2014/main" id="{DEEC0DAC-01AB-1D66-F6A4-47551CEF4ACD}"/>
              </a:ext>
            </a:extLst>
          </p:cNvPr>
          <p:cNvSpPr txBox="1">
            <a:spLocks/>
          </p:cNvSpPr>
          <p:nvPr/>
        </p:nvSpPr>
        <p:spPr>
          <a:xfrm>
            <a:off x="358775" y="774650"/>
            <a:ext cx="8426400" cy="3231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dirty="0"/>
              <a:t>Source: Where does the CO₂ come from?</a:t>
            </a:r>
          </a:p>
        </p:txBody>
      </p:sp>
      <p:pic>
        <p:nvPicPr>
          <p:cNvPr id="15" name="Google Shape;272;p48">
            <a:extLst>
              <a:ext uri="{FF2B5EF4-FFF2-40B4-BE49-F238E27FC236}">
                <a16:creationId xmlns:a16="http://schemas.microsoft.com/office/drawing/2014/main" id="{15B161E5-2AD1-FFE0-E4FD-92354199B4AF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0074" r="60050" b="14339"/>
          <a:stretch/>
        </p:blipFill>
        <p:spPr>
          <a:xfrm>
            <a:off x="7579278" y="2493810"/>
            <a:ext cx="1795292" cy="411709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6" name="Google Shape;273;p48">
            <a:extLst>
              <a:ext uri="{FF2B5EF4-FFF2-40B4-BE49-F238E27FC236}">
                <a16:creationId xmlns:a16="http://schemas.microsoft.com/office/drawing/2014/main" id="{B6A7C43D-AA02-E34E-6C19-FB02790C6A97}"/>
              </a:ext>
            </a:extLst>
          </p:cNvPr>
          <p:cNvSpPr txBox="1"/>
          <p:nvPr/>
        </p:nvSpPr>
        <p:spPr>
          <a:xfrm>
            <a:off x="5479815" y="4927485"/>
            <a:ext cx="2290800" cy="160040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 dirty="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Direct Air Capture + Storage</a:t>
            </a:r>
            <a:endParaRPr sz="1600" b="1" i="1" dirty="0">
              <a:solidFill>
                <a:schemeClr val="accent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Extraction</a:t>
            </a:r>
            <a:r>
              <a:rPr lang="en-GB" sz="1600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 by chemicals</a:t>
            </a:r>
            <a:endParaRPr sz="1600" dirty="0">
              <a:solidFill>
                <a:srgbClr val="006DBE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Storage</a:t>
            </a:r>
            <a:r>
              <a:rPr lang="en-GB" sz="1600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 in geology.</a:t>
            </a:r>
            <a:endParaRPr sz="1600" dirty="0">
              <a:solidFill>
                <a:schemeClr val="bg1">
                  <a:lumMod val="75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7" name="Google Shape;274;p48">
            <a:extLst>
              <a:ext uri="{FF2B5EF4-FFF2-40B4-BE49-F238E27FC236}">
                <a16:creationId xmlns:a16="http://schemas.microsoft.com/office/drawing/2014/main" id="{3D3F24A7-6787-BFC1-44B8-632E8F96ED44}"/>
              </a:ext>
            </a:extLst>
          </p:cNvPr>
          <p:cNvSpPr txBox="1"/>
          <p:nvPr/>
        </p:nvSpPr>
        <p:spPr>
          <a:xfrm>
            <a:off x="2771725" y="3085425"/>
            <a:ext cx="238500" cy="4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8" name="Google Shape;275;p48">
            <a:extLst>
              <a:ext uri="{FF2B5EF4-FFF2-40B4-BE49-F238E27FC236}">
                <a16:creationId xmlns:a16="http://schemas.microsoft.com/office/drawing/2014/main" id="{679DACA7-F5E4-E140-BF1F-710199BC9DE0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59488" r="10635" b="14339"/>
          <a:stretch/>
        </p:blipFill>
        <p:spPr>
          <a:xfrm>
            <a:off x="9941016" y="2007815"/>
            <a:ext cx="2059200" cy="47222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9" name="Google Shape;276;p48">
            <a:extLst>
              <a:ext uri="{FF2B5EF4-FFF2-40B4-BE49-F238E27FC236}">
                <a16:creationId xmlns:a16="http://schemas.microsoft.com/office/drawing/2014/main" id="{BB97DD17-B3E8-7603-5B28-245D93CFECC7}"/>
              </a:ext>
            </a:extLst>
          </p:cNvPr>
          <p:cNvSpPr txBox="1"/>
          <p:nvPr/>
        </p:nvSpPr>
        <p:spPr>
          <a:xfrm>
            <a:off x="8888178" y="1036738"/>
            <a:ext cx="2874700" cy="131725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Forestation</a:t>
            </a:r>
            <a:endParaRPr sz="1600" b="1" i="1" dirty="0">
              <a:solidFill>
                <a:schemeClr val="accent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Extraction</a:t>
            </a:r>
            <a:r>
              <a:rPr lang="en-GB" sz="1600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 by biomass</a:t>
            </a:r>
            <a:endParaRPr sz="1600" dirty="0">
              <a:solidFill>
                <a:srgbClr val="006DBE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Storage</a:t>
            </a:r>
            <a:r>
              <a:rPr lang="en-GB" sz="1600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 in biomass.</a:t>
            </a:r>
            <a:endParaRPr lang="en-US" sz="1600" dirty="0">
              <a:solidFill>
                <a:schemeClr val="bg1">
                  <a:lumMod val="75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Ongoing management.</a:t>
            </a:r>
            <a:endParaRPr sz="1600" dirty="0">
              <a:solidFill>
                <a:schemeClr val="bg1">
                  <a:lumMod val="75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20" name="Google Shape;277;p48">
            <a:extLst>
              <a:ext uri="{FF2B5EF4-FFF2-40B4-BE49-F238E27FC236}">
                <a16:creationId xmlns:a16="http://schemas.microsoft.com/office/drawing/2014/main" id="{CE919D9E-C06F-1536-9746-114A672AF94D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1784" y="4377698"/>
            <a:ext cx="4487352" cy="213858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1" name="Google Shape;278;p48">
            <a:extLst>
              <a:ext uri="{FF2B5EF4-FFF2-40B4-BE49-F238E27FC236}">
                <a16:creationId xmlns:a16="http://schemas.microsoft.com/office/drawing/2014/main" id="{1BAC03C7-63F8-9F22-4F9C-E3074BDA5F55}"/>
              </a:ext>
            </a:extLst>
          </p:cNvPr>
          <p:cNvSpPr txBox="1"/>
          <p:nvPr/>
        </p:nvSpPr>
        <p:spPr>
          <a:xfrm>
            <a:off x="4019350" y="2998773"/>
            <a:ext cx="2920931" cy="160040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 dirty="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Biomass + CCS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Extraction</a:t>
            </a:r>
            <a:r>
              <a:rPr lang="en-GB" sz="1600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 by  biomass</a:t>
            </a: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Use by humans</a:t>
            </a:r>
            <a:endParaRPr sz="1600" dirty="0">
              <a:solidFill>
                <a:srgbClr val="CFCFC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Recapture by Chemicals</a:t>
            </a:r>
            <a:endParaRPr sz="1600" dirty="0">
              <a:solidFill>
                <a:srgbClr val="CFCFC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Storage</a:t>
            </a:r>
            <a:r>
              <a:rPr lang="en-GB" sz="1600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 in geology.</a:t>
            </a:r>
            <a:endParaRPr sz="1600" dirty="0">
              <a:solidFill>
                <a:schemeClr val="bg1">
                  <a:lumMod val="75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2" name="Google Shape;279;p48">
            <a:extLst>
              <a:ext uri="{FF2B5EF4-FFF2-40B4-BE49-F238E27FC236}">
                <a16:creationId xmlns:a16="http://schemas.microsoft.com/office/drawing/2014/main" id="{F675B591-4684-07B6-8529-5FF3497E7D64}"/>
              </a:ext>
            </a:extLst>
          </p:cNvPr>
          <p:cNvSpPr txBox="1">
            <a:spLocks/>
          </p:cNvSpPr>
          <p:nvPr/>
        </p:nvSpPr>
        <p:spPr>
          <a:xfrm>
            <a:off x="358775" y="1279197"/>
            <a:ext cx="5795100" cy="977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7500">
              <a:lnSpc>
                <a:spcPct val="115000"/>
              </a:lnSpc>
              <a:spcBef>
                <a:spcPts val="0"/>
              </a:spcBef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CO₂ is </a:t>
            </a:r>
            <a:r>
              <a:rPr lang="en-GB" sz="2000" b="1" dirty="0"/>
              <a:t>physically extracted </a:t>
            </a:r>
            <a:r>
              <a:rPr lang="en-GB" sz="2000" dirty="0"/>
              <a:t>from the atmosphere.</a:t>
            </a:r>
          </a:p>
          <a:p>
            <a:pPr marL="0" indent="0">
              <a:lnSpc>
                <a:spcPct val="115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425908747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ound Same Side Corner Rectangle 4">
            <a:extLst>
              <a:ext uri="{FF2B5EF4-FFF2-40B4-BE49-F238E27FC236}">
                <a16:creationId xmlns:a16="http://schemas.microsoft.com/office/drawing/2014/main" id="{311BBCD0-4622-BF0B-5AC4-E6EAD8A044F1}"/>
              </a:ext>
            </a:extLst>
          </p:cNvPr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D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Google Shape;271;p48">
            <a:extLst>
              <a:ext uri="{FF2B5EF4-FFF2-40B4-BE49-F238E27FC236}">
                <a16:creationId xmlns:a16="http://schemas.microsoft.com/office/drawing/2014/main" id="{DEEC0DAC-01AB-1D66-F6A4-47551CEF4ACD}"/>
              </a:ext>
            </a:extLst>
          </p:cNvPr>
          <p:cNvSpPr txBox="1">
            <a:spLocks/>
          </p:cNvSpPr>
          <p:nvPr/>
        </p:nvSpPr>
        <p:spPr>
          <a:xfrm>
            <a:off x="358775" y="774650"/>
            <a:ext cx="8426400" cy="3231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dirty="0"/>
              <a:t>Sink: Where is the CO₂ stored?</a:t>
            </a:r>
          </a:p>
        </p:txBody>
      </p:sp>
      <p:pic>
        <p:nvPicPr>
          <p:cNvPr id="15" name="Google Shape;272;p48">
            <a:extLst>
              <a:ext uri="{FF2B5EF4-FFF2-40B4-BE49-F238E27FC236}">
                <a16:creationId xmlns:a16="http://schemas.microsoft.com/office/drawing/2014/main" id="{15B161E5-2AD1-FFE0-E4FD-92354199B4AF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10074" r="60050" b="14339"/>
          <a:stretch/>
        </p:blipFill>
        <p:spPr>
          <a:xfrm>
            <a:off x="7579278" y="2493810"/>
            <a:ext cx="1795292" cy="4117097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6" name="Google Shape;273;p48">
            <a:extLst>
              <a:ext uri="{FF2B5EF4-FFF2-40B4-BE49-F238E27FC236}">
                <a16:creationId xmlns:a16="http://schemas.microsoft.com/office/drawing/2014/main" id="{B6A7C43D-AA02-E34E-6C19-FB02790C6A97}"/>
              </a:ext>
            </a:extLst>
          </p:cNvPr>
          <p:cNvSpPr txBox="1"/>
          <p:nvPr/>
        </p:nvSpPr>
        <p:spPr>
          <a:xfrm>
            <a:off x="5479815" y="4927485"/>
            <a:ext cx="2290800" cy="160040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 dirty="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Direct Air Capture + Storage</a:t>
            </a:r>
            <a:endParaRPr sz="1600" b="1" i="1" dirty="0">
              <a:solidFill>
                <a:schemeClr val="accent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Extraction</a:t>
            </a:r>
            <a:r>
              <a:rPr lang="en-GB" sz="1600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 by chemicals</a:t>
            </a:r>
            <a:endParaRPr sz="1600" dirty="0">
              <a:solidFill>
                <a:srgbClr val="CFCFC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r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Storage</a:t>
            </a:r>
            <a:r>
              <a:rPr lang="en-GB" sz="1600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 in geology.</a:t>
            </a:r>
            <a:endParaRPr sz="1600" dirty="0">
              <a:solidFill>
                <a:srgbClr val="006DBE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pic>
        <p:nvPicPr>
          <p:cNvPr id="18" name="Google Shape;275;p48">
            <a:extLst>
              <a:ext uri="{FF2B5EF4-FFF2-40B4-BE49-F238E27FC236}">
                <a16:creationId xmlns:a16="http://schemas.microsoft.com/office/drawing/2014/main" id="{679DACA7-F5E4-E140-BF1F-710199BC9DE0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59488" r="10635" b="14339"/>
          <a:stretch/>
        </p:blipFill>
        <p:spPr>
          <a:xfrm>
            <a:off x="9941016" y="2007815"/>
            <a:ext cx="2059200" cy="4722262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20" name="Google Shape;277;p48">
            <a:extLst>
              <a:ext uri="{FF2B5EF4-FFF2-40B4-BE49-F238E27FC236}">
                <a16:creationId xmlns:a16="http://schemas.microsoft.com/office/drawing/2014/main" id="{CE919D9E-C06F-1536-9746-114A672AF94D}"/>
              </a:ext>
            </a:extLst>
          </p:cNvPr>
          <p:cNvPicPr preferRelativeResize="0"/>
          <p:nvPr/>
        </p:nvPicPr>
        <p:blipFill>
          <a:blip r:embed="rId3">
            <a:alphaModFix/>
          </a:blip>
          <a:stretch>
            <a:fillRect/>
          </a:stretch>
        </p:blipFill>
        <p:spPr>
          <a:xfrm>
            <a:off x="191784" y="4377698"/>
            <a:ext cx="4487352" cy="2138589"/>
          </a:xfrm>
          <a:prstGeom prst="rect">
            <a:avLst/>
          </a:prstGeom>
          <a:noFill/>
          <a:ln w="19050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21" name="Google Shape;278;p48">
            <a:extLst>
              <a:ext uri="{FF2B5EF4-FFF2-40B4-BE49-F238E27FC236}">
                <a16:creationId xmlns:a16="http://schemas.microsoft.com/office/drawing/2014/main" id="{1BAC03C7-63F8-9F22-4F9C-E3074BDA5F55}"/>
              </a:ext>
            </a:extLst>
          </p:cNvPr>
          <p:cNvSpPr txBox="1"/>
          <p:nvPr/>
        </p:nvSpPr>
        <p:spPr>
          <a:xfrm>
            <a:off x="4019350" y="2998773"/>
            <a:ext cx="2920931" cy="160040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 dirty="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Biomass + CCS</a:t>
            </a:r>
            <a:endParaRPr sz="1600" b="1" i="1" dirty="0">
              <a:solidFill>
                <a:schemeClr val="accent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Extraction</a:t>
            </a:r>
            <a:r>
              <a:rPr lang="en-GB" sz="1600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 by  biomass</a:t>
            </a:r>
            <a:endParaRPr sz="1600" dirty="0">
              <a:solidFill>
                <a:srgbClr val="CFCFC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Use by humans</a:t>
            </a:r>
            <a:endParaRPr sz="1600" dirty="0">
              <a:solidFill>
                <a:srgbClr val="CFCFC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Recapture by Chemicals</a:t>
            </a:r>
            <a:endParaRPr sz="1600" dirty="0">
              <a:solidFill>
                <a:srgbClr val="CFCFC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Storage</a:t>
            </a:r>
            <a:r>
              <a:rPr lang="en-GB" sz="1600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 in geology.</a:t>
            </a:r>
            <a:endParaRPr sz="1600" dirty="0">
              <a:solidFill>
                <a:srgbClr val="006DBE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22" name="Google Shape;279;p48">
            <a:extLst>
              <a:ext uri="{FF2B5EF4-FFF2-40B4-BE49-F238E27FC236}">
                <a16:creationId xmlns:a16="http://schemas.microsoft.com/office/drawing/2014/main" id="{F675B591-4684-07B6-8529-5FF3497E7D64}"/>
              </a:ext>
            </a:extLst>
          </p:cNvPr>
          <p:cNvSpPr txBox="1">
            <a:spLocks/>
          </p:cNvSpPr>
          <p:nvPr/>
        </p:nvSpPr>
        <p:spPr>
          <a:xfrm>
            <a:off x="358775" y="1279197"/>
            <a:ext cx="5795100" cy="9771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CO₂ is </a:t>
            </a:r>
            <a:r>
              <a:rPr lang="en-GB" sz="2000" b="1" dirty="0"/>
              <a:t>physically extracted </a:t>
            </a:r>
            <a:r>
              <a:rPr lang="en-GB" sz="2000" dirty="0"/>
              <a:t>from the atmosphere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The extracted atmospheric CO₂ is </a:t>
            </a:r>
            <a:r>
              <a:rPr lang="en-GB" sz="2000" b="1" dirty="0"/>
              <a:t>permanently stored</a:t>
            </a:r>
            <a:r>
              <a:rPr lang="en-GB" sz="2000" dirty="0"/>
              <a:t>.</a:t>
            </a:r>
            <a:endParaRPr lang="en-GB" sz="2000" b="1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</p:txBody>
      </p:sp>
      <p:sp>
        <p:nvSpPr>
          <p:cNvPr id="6" name="Google Shape;276;p48">
            <a:extLst>
              <a:ext uri="{FF2B5EF4-FFF2-40B4-BE49-F238E27FC236}">
                <a16:creationId xmlns:a16="http://schemas.microsoft.com/office/drawing/2014/main" id="{426024FD-B9CB-F03A-EE14-D0B1541ACDB0}"/>
              </a:ext>
            </a:extLst>
          </p:cNvPr>
          <p:cNvSpPr txBox="1"/>
          <p:nvPr/>
        </p:nvSpPr>
        <p:spPr>
          <a:xfrm>
            <a:off x="8888178" y="1036738"/>
            <a:ext cx="2874700" cy="131725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i="1" dirty="0">
                <a:solidFill>
                  <a:schemeClr val="accent1"/>
                </a:solidFill>
                <a:latin typeface="Montserrat"/>
                <a:ea typeface="Montserrat"/>
                <a:cs typeface="Montserrat"/>
                <a:sym typeface="Montserrat"/>
              </a:rPr>
              <a:t>Forestation</a:t>
            </a:r>
            <a:endParaRPr sz="1600" b="1" i="1" dirty="0">
              <a:solidFill>
                <a:schemeClr val="accent1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Extraction</a:t>
            </a:r>
            <a:r>
              <a:rPr lang="en-GB" sz="1600" dirty="0">
                <a:solidFill>
                  <a:srgbClr val="CFCFCF"/>
                </a:solidFill>
                <a:latin typeface="Montserrat"/>
                <a:ea typeface="Montserrat"/>
                <a:cs typeface="Montserrat"/>
                <a:sym typeface="Montserrat"/>
              </a:rPr>
              <a:t> by biomass</a:t>
            </a:r>
            <a:endParaRPr sz="1600" dirty="0">
              <a:solidFill>
                <a:srgbClr val="CFCFCF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GB" sz="1600" b="1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Storage</a:t>
            </a:r>
            <a:r>
              <a:rPr lang="en-GB" sz="1600" dirty="0">
                <a:solidFill>
                  <a:srgbClr val="006DBE"/>
                </a:solidFill>
                <a:latin typeface="Montserrat"/>
                <a:ea typeface="Montserrat"/>
                <a:cs typeface="Montserrat"/>
                <a:sym typeface="Montserrat"/>
              </a:rPr>
              <a:t> in biomass.</a:t>
            </a:r>
            <a:endParaRPr lang="en-US" sz="1600" dirty="0">
              <a:solidFill>
                <a:srgbClr val="006DBE"/>
              </a:solidFill>
              <a:latin typeface="Montserrat"/>
              <a:ea typeface="Montserrat"/>
              <a:cs typeface="Montserrat"/>
              <a:sym typeface="Montserrat"/>
            </a:endParaRPr>
          </a:p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dirty="0">
                <a:solidFill>
                  <a:schemeClr val="bg1">
                    <a:lumMod val="75000"/>
                  </a:schemeClr>
                </a:solidFill>
                <a:latin typeface="Montserrat"/>
                <a:ea typeface="Montserrat"/>
                <a:cs typeface="Montserrat"/>
                <a:sym typeface="Montserrat"/>
              </a:rPr>
              <a:t>Ongoing management.</a:t>
            </a:r>
            <a:endParaRPr sz="1600" dirty="0">
              <a:solidFill>
                <a:schemeClr val="bg1">
                  <a:lumMod val="75000"/>
                </a:schemeClr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38986202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4">
            <a:extLst>
              <a:ext uri="{FF2B5EF4-FFF2-40B4-BE49-F238E27FC236}">
                <a16:creationId xmlns:a16="http://schemas.microsoft.com/office/drawing/2014/main" id="{275D988B-093F-0266-81F2-DB5124D80BA7}"/>
              </a:ext>
            </a:extLst>
          </p:cNvPr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D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Google Shape;293;p50">
            <a:extLst>
              <a:ext uri="{FF2B5EF4-FFF2-40B4-BE49-F238E27FC236}">
                <a16:creationId xmlns:a16="http://schemas.microsoft.com/office/drawing/2014/main" id="{65051385-4E7F-7FDC-6D03-1A56760D4776}"/>
              </a:ext>
            </a:extLst>
          </p:cNvPr>
          <p:cNvSpPr txBox="1">
            <a:spLocks/>
          </p:cNvSpPr>
          <p:nvPr/>
        </p:nvSpPr>
        <p:spPr>
          <a:xfrm>
            <a:off x="358775" y="774650"/>
            <a:ext cx="8426400" cy="3231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dirty="0"/>
              <a:t>System: What happens between source and sink?</a:t>
            </a:r>
          </a:p>
        </p:txBody>
      </p:sp>
      <p:pic>
        <p:nvPicPr>
          <p:cNvPr id="33" name="Google Shape;294;p50">
            <a:extLst>
              <a:ext uri="{FF2B5EF4-FFF2-40B4-BE49-F238E27FC236}">
                <a16:creationId xmlns:a16="http://schemas.microsoft.com/office/drawing/2014/main" id="{70FB8189-4DB1-BD3D-335C-1B39B894FA3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21655" y="1459341"/>
            <a:ext cx="6378561" cy="5024949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295;p50">
            <a:extLst>
              <a:ext uri="{FF2B5EF4-FFF2-40B4-BE49-F238E27FC236}">
                <a16:creationId xmlns:a16="http://schemas.microsoft.com/office/drawing/2014/main" id="{6D56DEF6-F1D2-851E-7E26-EB555CDD119F}"/>
              </a:ext>
            </a:extLst>
          </p:cNvPr>
          <p:cNvSpPr txBox="1">
            <a:spLocks/>
          </p:cNvSpPr>
          <p:nvPr/>
        </p:nvSpPr>
        <p:spPr>
          <a:xfrm>
            <a:off x="358775" y="1241475"/>
            <a:ext cx="5998800" cy="316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CO₂ is </a:t>
            </a:r>
            <a:r>
              <a:rPr lang="en-GB" sz="2000" b="1" dirty="0"/>
              <a:t>physically extracted </a:t>
            </a:r>
            <a:r>
              <a:rPr lang="en-GB" sz="2000" dirty="0"/>
              <a:t>from the atmosphere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The extracted atmospheric CO₂ is </a:t>
            </a:r>
            <a:r>
              <a:rPr lang="en-GB" sz="2000" b="1" dirty="0"/>
              <a:t>permanently stored</a:t>
            </a:r>
            <a:r>
              <a:rPr lang="en-GB" sz="2000" dirty="0"/>
              <a:t>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All greenhouse gas emissions associated with the removal and storage processes are comprehensively estimated and included.</a:t>
            </a:r>
            <a:endParaRPr lang="en-US" sz="2000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b="1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b="1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277705820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 Same Side Corner Rectangle 4">
            <a:extLst>
              <a:ext uri="{FF2B5EF4-FFF2-40B4-BE49-F238E27FC236}">
                <a16:creationId xmlns:a16="http://schemas.microsoft.com/office/drawing/2014/main" id="{275D988B-093F-0266-81F2-DB5124D80BA7}"/>
              </a:ext>
            </a:extLst>
          </p:cNvPr>
          <p:cNvSpPr/>
          <p:nvPr/>
        </p:nvSpPr>
        <p:spPr>
          <a:xfrm rot="10800000">
            <a:off x="3066484" y="-3"/>
            <a:ext cx="6059032" cy="10814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6D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Google Shape;293;p50">
            <a:extLst>
              <a:ext uri="{FF2B5EF4-FFF2-40B4-BE49-F238E27FC236}">
                <a16:creationId xmlns:a16="http://schemas.microsoft.com/office/drawing/2014/main" id="{65051385-4E7F-7FDC-6D03-1A56760D4776}"/>
              </a:ext>
            </a:extLst>
          </p:cNvPr>
          <p:cNvSpPr txBox="1">
            <a:spLocks/>
          </p:cNvSpPr>
          <p:nvPr/>
        </p:nvSpPr>
        <p:spPr>
          <a:xfrm>
            <a:off x="358775" y="774650"/>
            <a:ext cx="8426400" cy="323100"/>
          </a:xfrm>
          <a:prstGeom prst="rect">
            <a:avLst/>
          </a:prstGeom>
        </p:spPr>
        <p:txBody>
          <a:bodyPr spcFirstLastPara="1" wrap="square" lIns="0" tIns="0" rIns="0" bIns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dirty="0"/>
              <a:t>System: What happens between source and sink?</a:t>
            </a:r>
          </a:p>
        </p:txBody>
      </p:sp>
      <p:pic>
        <p:nvPicPr>
          <p:cNvPr id="33" name="Google Shape;294;p50">
            <a:extLst>
              <a:ext uri="{FF2B5EF4-FFF2-40B4-BE49-F238E27FC236}">
                <a16:creationId xmlns:a16="http://schemas.microsoft.com/office/drawing/2014/main" id="{70FB8189-4DB1-BD3D-335C-1B39B894FA36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621655" y="1459341"/>
            <a:ext cx="6378561" cy="5024949"/>
          </a:xfrm>
          <a:prstGeom prst="rect">
            <a:avLst/>
          </a:prstGeom>
          <a:noFill/>
          <a:ln>
            <a:noFill/>
          </a:ln>
        </p:spPr>
      </p:pic>
      <p:sp>
        <p:nvSpPr>
          <p:cNvPr id="34" name="Google Shape;295;p50">
            <a:extLst>
              <a:ext uri="{FF2B5EF4-FFF2-40B4-BE49-F238E27FC236}">
                <a16:creationId xmlns:a16="http://schemas.microsoft.com/office/drawing/2014/main" id="{6D56DEF6-F1D2-851E-7E26-EB555CDD119F}"/>
              </a:ext>
            </a:extLst>
          </p:cNvPr>
          <p:cNvSpPr txBox="1">
            <a:spLocks/>
          </p:cNvSpPr>
          <p:nvPr/>
        </p:nvSpPr>
        <p:spPr>
          <a:xfrm>
            <a:off x="65698" y="1241475"/>
            <a:ext cx="5998800" cy="31653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CO₂ is </a:t>
            </a:r>
            <a:r>
              <a:rPr lang="en-GB" sz="2000" b="1" dirty="0"/>
              <a:t>physically extracted </a:t>
            </a:r>
            <a:r>
              <a:rPr lang="en-GB" sz="2000" dirty="0"/>
              <a:t>from the atmosphere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The extracted atmospheric CO₂ is </a:t>
            </a:r>
            <a:r>
              <a:rPr lang="en-GB" sz="2000" b="1" dirty="0"/>
              <a:t>permanently stored</a:t>
            </a:r>
            <a:r>
              <a:rPr lang="en-GB" sz="2000" dirty="0"/>
              <a:t>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All greenhouse gas emissions associated with the removal and storage processes are comprehensively estimated and included.</a:t>
            </a:r>
          </a:p>
          <a:p>
            <a:pPr marL="457200" indent="-31750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SzPts val="1400"/>
              <a:buFont typeface="Arial" panose="020B0604020202020204" pitchFamily="34" charset="0"/>
              <a:buAutoNum type="arabicPeriod"/>
            </a:pPr>
            <a:r>
              <a:rPr lang="en-GB" sz="2000" dirty="0"/>
              <a:t>More atmospheric CO₂ is permanently stored than greenhouse gases are emitted in the removal and storage processes and their complete supply chains.</a:t>
            </a:r>
            <a:endParaRPr lang="en-US" sz="2000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b="1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b="1" dirty="0"/>
          </a:p>
          <a:p>
            <a:pPr marL="0" indent="0">
              <a:lnSpc>
                <a:spcPct val="115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  <a:p>
            <a:pPr marL="0" indent="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</a:pPr>
            <a:endParaRPr lang="en-GB" sz="20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5E2D151-E0CA-CBDC-E141-2F1E4D580747}"/>
              </a:ext>
            </a:extLst>
          </p:cNvPr>
          <p:cNvSpPr txBox="1"/>
          <p:nvPr/>
        </p:nvSpPr>
        <p:spPr>
          <a:xfrm>
            <a:off x="9308723" y="6211669"/>
            <a:ext cx="60985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0" strike="noStrike" dirty="0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From: Tanzer et al (2019)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</a:rPr>
              <a:t>DOI: </a:t>
            </a:r>
            <a:r>
              <a:rPr lang="en-US" i="0" strike="noStrike" dirty="0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10.1039/C8EE03338B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A2ACFB5-3A39-D3A6-73DC-692ADC79E155}"/>
              </a:ext>
            </a:extLst>
          </p:cNvPr>
          <p:cNvSpPr txBox="1"/>
          <p:nvPr/>
        </p:nvSpPr>
        <p:spPr>
          <a:xfrm>
            <a:off x="-2514" y="6191550"/>
            <a:ext cx="6098514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0" strike="noStrike" dirty="0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From: Tanzer et al (2019)</a:t>
            </a:r>
          </a:p>
          <a:p>
            <a:r>
              <a:rPr lang="en-US" dirty="0">
                <a:solidFill>
                  <a:schemeClr val="bg1">
                    <a:lumMod val="50000"/>
                  </a:schemeClr>
                </a:solidFill>
                <a:latin typeface="Source Sans Pro" panose="020B0503030403020204" pitchFamily="34" charset="0"/>
              </a:rPr>
              <a:t>DOI: </a:t>
            </a:r>
            <a:r>
              <a:rPr lang="en-US" i="0" strike="noStrike" dirty="0">
                <a:solidFill>
                  <a:schemeClr val="bg1">
                    <a:lumMod val="50000"/>
                  </a:schemeClr>
                </a:solidFill>
                <a:effectLst/>
                <a:latin typeface="Source Sans Pro" panose="020B0503030403020204" pitchFamily="34" charset="0"/>
              </a:rPr>
              <a:t>10.1039/C8EE03338B</a:t>
            </a: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8336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leaning Service">
      <a:dk1>
        <a:srgbClr val="6A6A6A"/>
      </a:dk1>
      <a:lt1>
        <a:sysClr val="window" lastClr="FFFFFF"/>
      </a:lt1>
      <a:dk2>
        <a:srgbClr val="848484"/>
      </a:dk2>
      <a:lt2>
        <a:srgbClr val="F2F2F2"/>
      </a:lt2>
      <a:accent1>
        <a:srgbClr val="085453"/>
      </a:accent1>
      <a:accent2>
        <a:srgbClr val="387677"/>
      </a:accent2>
      <a:accent3>
        <a:srgbClr val="F0BD3E"/>
      </a:accent3>
      <a:accent4>
        <a:srgbClr val="FFFFFF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2161fbb-9d6a-470e-a4da-4e5b68ec0d92">
      <Terms xmlns="http://schemas.microsoft.com/office/infopath/2007/PartnerControls"/>
    </lcf76f155ced4ddcb4097134ff3c332f>
    <TaxCatchAll xmlns="f6561c42-635d-4b7e-8f9f-50c6d00f5b0f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F8A25FBEA7C2C4CB77604653E4932EB" ma:contentTypeVersion="17" ma:contentTypeDescription="Create a new document." ma:contentTypeScope="" ma:versionID="baa6330467f76f227d0d997fa8b9b645">
  <xsd:schema xmlns:xsd="http://www.w3.org/2001/XMLSchema" xmlns:xs="http://www.w3.org/2001/XMLSchema" xmlns:p="http://schemas.microsoft.com/office/2006/metadata/properties" xmlns:ns2="12161fbb-9d6a-470e-a4da-4e5b68ec0d92" xmlns:ns3="f6561c42-635d-4b7e-8f9f-50c6d00f5b0f" targetNamespace="http://schemas.microsoft.com/office/2006/metadata/properties" ma:root="true" ma:fieldsID="70dd1f6674e2632071a3d04c090fe5ec" ns2:_="" ns3:_="">
    <xsd:import namespace="12161fbb-9d6a-470e-a4da-4e5b68ec0d92"/>
    <xsd:import namespace="f6561c42-635d-4b7e-8f9f-50c6d00f5b0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2161fbb-9d6a-470e-a4da-4e5b68ec0d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9d65654-ea84-44db-84f3-4e2acbbf0ef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561c42-635d-4b7e-8f9f-50c6d00f5b0f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88d757d9-85aa-46d5-bef1-bed1f90e68d7}" ma:internalName="TaxCatchAll" ma:showField="CatchAllData" ma:web="f6561c42-635d-4b7e-8f9f-50c6d00f5b0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C5D885B-22D8-4D27-A5C5-FAC5D18D1D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0707AD7-B760-4925-AB86-DB20953B9267}">
  <ds:schemaRefs>
    <ds:schemaRef ds:uri="12161fbb-9d6a-470e-a4da-4e5b68ec0d92"/>
    <ds:schemaRef ds:uri="f6561c42-635d-4b7e-8f9f-50c6d00f5b0f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3194D9E-842B-4DF1-AEC1-C238F5E4F6CF}"/>
</file>

<file path=docProps/app.xml><?xml version="1.0" encoding="utf-8"?>
<Properties xmlns="http://schemas.openxmlformats.org/officeDocument/2006/extended-properties" xmlns:vt="http://schemas.openxmlformats.org/officeDocument/2006/docPropsVTypes">
  <TotalTime>10806</TotalTime>
  <Words>1325</Words>
  <Application>Microsoft Office PowerPoint</Application>
  <PresentationFormat>Widescreen</PresentationFormat>
  <Paragraphs>306</Paragraphs>
  <Slides>3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1</vt:i4>
      </vt:variant>
    </vt:vector>
  </HeadingPairs>
  <TitlesOfParts>
    <vt:vector size="47" baseType="lpstr">
      <vt:lpstr>Arial</vt:lpstr>
      <vt:lpstr>Avenir</vt:lpstr>
      <vt:lpstr>Axiforma-Black</vt:lpstr>
      <vt:lpstr>Calibri</vt:lpstr>
      <vt:lpstr>Calibri Light</vt:lpstr>
      <vt:lpstr>Gill Sans</vt:lpstr>
      <vt:lpstr>Helvetica</vt:lpstr>
      <vt:lpstr>Montserrat</vt:lpstr>
      <vt:lpstr>Poppins</vt:lpstr>
      <vt:lpstr>Questrial</vt:lpstr>
      <vt:lpstr>Source Sans Pro</vt:lpstr>
      <vt:lpstr>TT Hoves</vt:lpstr>
      <vt:lpstr>Office Theme</vt:lpstr>
      <vt:lpstr>Office Theme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is (not) CDR?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ummy deeshan</dc:creator>
  <cp:lastModifiedBy>Mark Preston Aragonès</cp:lastModifiedBy>
  <cp:revision>89</cp:revision>
  <dcterms:created xsi:type="dcterms:W3CDTF">2018-07-09T07:22:50Z</dcterms:created>
  <dcterms:modified xsi:type="dcterms:W3CDTF">2023-06-08T10:1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F8A25FBEA7C2C4CB77604653E4932EB</vt:lpwstr>
  </property>
  <property fmtid="{D5CDD505-2E9C-101B-9397-08002B2CF9AE}" pid="3" name="MediaServiceImageTags">
    <vt:lpwstr/>
  </property>
</Properties>
</file>